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tags/tag6.xml" ContentType="application/vnd.openxmlformats-officedocument.presentationml.tags+xml"/>
  <Override PartName="/ppt/notesSlides/notesSlide13.xml" ContentType="application/vnd.openxmlformats-officedocument.presentationml.notesSlide+xml"/>
  <Override PartName="/ppt/tags/tag7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8" r:id="rId5"/>
    <p:sldMasterId id="2147483684" r:id="rId6"/>
  </p:sldMasterIdLst>
  <p:notesMasterIdLst>
    <p:notesMasterId r:id="rId32"/>
  </p:notesMasterIdLst>
  <p:handoutMasterIdLst>
    <p:handoutMasterId r:id="rId33"/>
  </p:handoutMasterIdLst>
  <p:sldIdLst>
    <p:sldId id="256" r:id="rId7"/>
    <p:sldId id="257" r:id="rId8"/>
    <p:sldId id="303" r:id="rId9"/>
    <p:sldId id="292" r:id="rId10"/>
    <p:sldId id="309" r:id="rId11"/>
    <p:sldId id="310" r:id="rId12"/>
    <p:sldId id="308" r:id="rId13"/>
    <p:sldId id="312" r:id="rId14"/>
    <p:sldId id="311" r:id="rId15"/>
    <p:sldId id="284" r:id="rId16"/>
    <p:sldId id="283" r:id="rId17"/>
    <p:sldId id="267" r:id="rId18"/>
    <p:sldId id="301" r:id="rId19"/>
    <p:sldId id="286" r:id="rId20"/>
    <p:sldId id="298" r:id="rId21"/>
    <p:sldId id="288" r:id="rId22"/>
    <p:sldId id="304" r:id="rId23"/>
    <p:sldId id="305" r:id="rId24"/>
    <p:sldId id="306" r:id="rId25"/>
    <p:sldId id="294" r:id="rId26"/>
    <p:sldId id="295" r:id="rId27"/>
    <p:sldId id="296" r:id="rId28"/>
    <p:sldId id="307" r:id="rId29"/>
    <p:sldId id="313" r:id="rId30"/>
    <p:sldId id="289" r:id="rId3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28797755-D025-4C5C-BFB7-55B21F6E1B5E}">
          <p14:sldIdLst>
            <p14:sldId id="256"/>
            <p14:sldId id="257"/>
            <p14:sldId id="303"/>
            <p14:sldId id="292"/>
            <p14:sldId id="309"/>
            <p14:sldId id="310"/>
            <p14:sldId id="308"/>
            <p14:sldId id="312"/>
          </p14:sldIdLst>
        </p14:section>
        <p14:section name="Copilot Studio Basics" id="{FDE91780-617D-439B-8A50-9238009745C5}">
          <p14:sldIdLst>
            <p14:sldId id="311"/>
            <p14:sldId id="284"/>
            <p14:sldId id="283"/>
            <p14:sldId id="267"/>
            <p14:sldId id="301"/>
            <p14:sldId id="286"/>
            <p14:sldId id="298"/>
            <p14:sldId id="288"/>
            <p14:sldId id="304"/>
            <p14:sldId id="305"/>
            <p14:sldId id="306"/>
            <p14:sldId id="294"/>
            <p14:sldId id="295"/>
            <p14:sldId id="296"/>
          </p14:sldIdLst>
        </p14:section>
        <p14:section name="Lab 01" id="{070140EA-FD19-4F44-8022-E33FB3AA8046}">
          <p14:sldIdLst>
            <p14:sldId id="307"/>
            <p14:sldId id="313"/>
          </p14:sldIdLst>
        </p14:section>
        <p14:section name="Closing" id="{54EF493A-333C-4E67-AE33-5B7DE1E5D1EC}">
          <p14:sldIdLst>
            <p14:sldId id="2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36" userDrawn="1">
          <p15:clr>
            <a:srgbClr val="A4A3A4"/>
          </p15:clr>
        </p15:guide>
        <p15:guide id="2" pos="3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4D6A"/>
    <a:srgbClr val="F6EE8A"/>
    <a:srgbClr val="E8D9B0"/>
    <a:srgbClr val="E95174"/>
    <a:srgbClr val="DCD3CC"/>
    <a:srgbClr val="7363A8"/>
    <a:srgbClr val="53FFF3"/>
    <a:srgbClr val="00E0D0"/>
    <a:srgbClr val="DCE9F7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91F7F0-EAD9-4A93-9178-2D5EF0E4E561}" v="22" dt="2025-10-17T09:16:23.3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46" autoAdjust="0"/>
    <p:restoredTop sz="86410" autoAdjust="0"/>
  </p:normalViewPr>
  <p:slideViewPr>
    <p:cSldViewPr snapToGrid="0" showGuides="1">
      <p:cViewPr varScale="1">
        <p:scale>
          <a:sx n="63" d="100"/>
          <a:sy n="63" d="100"/>
        </p:scale>
        <p:origin x="1382" y="278"/>
      </p:cViewPr>
      <p:guideLst>
        <p:guide orient="horz" pos="1536"/>
        <p:guide pos="3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13766"/>
    </p:cViewPr>
  </p:sorterViewPr>
  <p:notesViewPr>
    <p:cSldViewPr snapToGrid="0">
      <p:cViewPr varScale="1">
        <p:scale>
          <a:sx n="122" d="100"/>
          <a:sy n="122" d="100"/>
        </p:scale>
        <p:origin x="6040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microsoft.com/office/2015/10/relationships/revisionInfo" Target="revisionInfo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handoutMaster" Target="handoutMasters/handoutMaster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Laskewitz" userId="004e9a81-59d4-47b4-8bee-4f6da7cf9d9d" providerId="ADAL" clId="{B7E1987E-F849-430F-A364-DDFF2666125D}"/>
    <pc:docChg chg="custSel addSld delSld modSld addSection modSection">
      <pc:chgData name="Daniel Laskewitz" userId="004e9a81-59d4-47b4-8bee-4f6da7cf9d9d" providerId="ADAL" clId="{B7E1987E-F849-430F-A364-DDFF2666125D}" dt="2025-10-17T09:16:31.212" v="764" actId="207"/>
      <pc:docMkLst>
        <pc:docMk/>
      </pc:docMkLst>
      <pc:sldChg chg="add del">
        <pc:chgData name="Daniel Laskewitz" userId="004e9a81-59d4-47b4-8bee-4f6da7cf9d9d" providerId="ADAL" clId="{B7E1987E-F849-430F-A364-DDFF2666125D}" dt="2025-10-16T19:24:31.883" v="723" actId="2696"/>
        <pc:sldMkLst>
          <pc:docMk/>
          <pc:sldMk cId="507334446" sldId="258"/>
        </pc:sldMkLst>
      </pc:sldChg>
      <pc:sldChg chg="del">
        <pc:chgData name="Daniel Laskewitz" userId="004e9a81-59d4-47b4-8bee-4f6da7cf9d9d" providerId="ADAL" clId="{B7E1987E-F849-430F-A364-DDFF2666125D}" dt="2025-10-16T19:08:22.586" v="0" actId="47"/>
        <pc:sldMkLst>
          <pc:docMk/>
          <pc:sldMk cId="4181419580" sldId="258"/>
        </pc:sldMkLst>
      </pc:sldChg>
      <pc:sldChg chg="add del">
        <pc:chgData name="Daniel Laskewitz" userId="004e9a81-59d4-47b4-8bee-4f6da7cf9d9d" providerId="ADAL" clId="{B7E1987E-F849-430F-A364-DDFF2666125D}" dt="2025-10-16T19:09:42.263" v="75"/>
        <pc:sldMkLst>
          <pc:docMk/>
          <pc:sldMk cId="2071096564" sldId="267"/>
        </pc:sldMkLst>
      </pc:sldChg>
      <pc:sldChg chg="add del">
        <pc:chgData name="Daniel Laskewitz" userId="004e9a81-59d4-47b4-8bee-4f6da7cf9d9d" providerId="ADAL" clId="{B7E1987E-F849-430F-A364-DDFF2666125D}" dt="2025-10-16T19:17:20.582" v="622" actId="47"/>
        <pc:sldMkLst>
          <pc:docMk/>
          <pc:sldMk cId="1047685664" sldId="274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2775535166" sldId="275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77554804" sldId="276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2478079616" sldId="277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1640288181" sldId="278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1246021298" sldId="279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2107888131" sldId="281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3157109385" sldId="282"/>
        </pc:sldMkLst>
      </pc:sldChg>
      <pc:sldChg chg="add del">
        <pc:chgData name="Daniel Laskewitz" userId="004e9a81-59d4-47b4-8bee-4f6da7cf9d9d" providerId="ADAL" clId="{B7E1987E-F849-430F-A364-DDFF2666125D}" dt="2025-10-16T19:09:21.495" v="72"/>
        <pc:sldMkLst>
          <pc:docMk/>
          <pc:sldMk cId="2040131780" sldId="283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2517140333" sldId="283"/>
        </pc:sldMkLst>
      </pc:sldChg>
      <pc:sldChg chg="add del">
        <pc:chgData name="Daniel Laskewitz" userId="004e9a81-59d4-47b4-8bee-4f6da7cf9d9d" providerId="ADAL" clId="{B7E1987E-F849-430F-A364-DDFF2666125D}" dt="2025-10-16T19:09:08.926" v="69"/>
        <pc:sldMkLst>
          <pc:docMk/>
          <pc:sldMk cId="2403712254" sldId="284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2624021206" sldId="284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3760906987" sldId="285"/>
        </pc:sldMkLst>
      </pc:sldChg>
      <pc:sldChg chg="add del">
        <pc:chgData name="Daniel Laskewitz" userId="004e9a81-59d4-47b4-8bee-4f6da7cf9d9d" providerId="ADAL" clId="{B7E1987E-F849-430F-A364-DDFF2666125D}" dt="2025-10-16T19:10:32.322" v="78"/>
        <pc:sldMkLst>
          <pc:docMk/>
          <pc:sldMk cId="3642818094" sldId="286"/>
        </pc:sldMkLst>
      </pc:sldChg>
      <pc:sldChg chg="add del">
        <pc:chgData name="Daniel Laskewitz" userId="004e9a81-59d4-47b4-8bee-4f6da7cf9d9d" providerId="ADAL" clId="{B7E1987E-F849-430F-A364-DDFF2666125D}" dt="2025-10-16T19:10:32.322" v="78"/>
        <pc:sldMkLst>
          <pc:docMk/>
          <pc:sldMk cId="656077319" sldId="288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4157533387" sldId="288"/>
        </pc:sldMkLst>
      </pc:sldChg>
      <pc:sldChg chg="add del">
        <pc:chgData name="Daniel Laskewitz" userId="004e9a81-59d4-47b4-8bee-4f6da7cf9d9d" providerId="ADAL" clId="{B7E1987E-F849-430F-A364-DDFF2666125D}" dt="2025-10-16T19:17:11.465" v="621" actId="47"/>
        <pc:sldMkLst>
          <pc:docMk/>
          <pc:sldMk cId="2264849822" sldId="290"/>
        </pc:sldMkLst>
      </pc:sldChg>
      <pc:sldChg chg="add del mod modShow">
        <pc:chgData name="Daniel Laskewitz" userId="004e9a81-59d4-47b4-8bee-4f6da7cf9d9d" providerId="ADAL" clId="{B7E1987E-F849-430F-A364-DDFF2666125D}" dt="2025-10-16T19:24:28.321" v="722" actId="47"/>
        <pc:sldMkLst>
          <pc:docMk/>
          <pc:sldMk cId="2506187332" sldId="291"/>
        </pc:sldMkLst>
      </pc:sldChg>
      <pc:sldChg chg="modSp mod">
        <pc:chgData name="Daniel Laskewitz" userId="004e9a81-59d4-47b4-8bee-4f6da7cf9d9d" providerId="ADAL" clId="{B7E1987E-F849-430F-A364-DDFF2666125D}" dt="2025-10-16T19:08:43.483" v="65" actId="20577"/>
        <pc:sldMkLst>
          <pc:docMk/>
          <pc:sldMk cId="3898447929" sldId="292"/>
        </pc:sldMkLst>
        <pc:spChg chg="mod">
          <ac:chgData name="Daniel Laskewitz" userId="004e9a81-59d4-47b4-8bee-4f6da7cf9d9d" providerId="ADAL" clId="{B7E1987E-F849-430F-A364-DDFF2666125D}" dt="2025-10-16T19:08:35.616" v="35" actId="20577"/>
          <ac:spMkLst>
            <pc:docMk/>
            <pc:sldMk cId="3898447929" sldId="292"/>
            <ac:spMk id="7" creationId="{93A3B864-5E85-99D2-93E5-5CA1F4F35DC7}"/>
          </ac:spMkLst>
        </pc:spChg>
        <pc:spChg chg="mod">
          <ac:chgData name="Daniel Laskewitz" userId="004e9a81-59d4-47b4-8bee-4f6da7cf9d9d" providerId="ADAL" clId="{B7E1987E-F849-430F-A364-DDFF2666125D}" dt="2025-10-16T19:08:43.483" v="65" actId="20577"/>
          <ac:spMkLst>
            <pc:docMk/>
            <pc:sldMk cId="3898447929" sldId="292"/>
            <ac:spMk id="9" creationId="{485E0237-B9A1-0B58-E0AA-05EF84817EB4}"/>
          </ac:spMkLst>
        </pc:spChg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4182148033" sldId="293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32955924" sldId="294"/>
        </pc:sldMkLst>
      </pc:sldChg>
      <pc:sldChg chg="add del">
        <pc:chgData name="Daniel Laskewitz" userId="004e9a81-59d4-47b4-8bee-4f6da7cf9d9d" providerId="ADAL" clId="{B7E1987E-F849-430F-A364-DDFF2666125D}" dt="2025-10-16T19:10:32.322" v="78"/>
        <pc:sldMkLst>
          <pc:docMk/>
          <pc:sldMk cId="893377643" sldId="294"/>
        </pc:sldMkLst>
      </pc:sldChg>
      <pc:sldChg chg="add del">
        <pc:chgData name="Daniel Laskewitz" userId="004e9a81-59d4-47b4-8bee-4f6da7cf9d9d" providerId="ADAL" clId="{B7E1987E-F849-430F-A364-DDFF2666125D}" dt="2025-10-16T19:10:32.322" v="78"/>
        <pc:sldMkLst>
          <pc:docMk/>
          <pc:sldMk cId="724843864" sldId="295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2519727083" sldId="295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66073738" sldId="296"/>
        </pc:sldMkLst>
      </pc:sldChg>
      <pc:sldChg chg="add del">
        <pc:chgData name="Daniel Laskewitz" userId="004e9a81-59d4-47b4-8bee-4f6da7cf9d9d" providerId="ADAL" clId="{B7E1987E-F849-430F-A364-DDFF2666125D}" dt="2025-10-16T19:10:32.322" v="78"/>
        <pc:sldMkLst>
          <pc:docMk/>
          <pc:sldMk cId="3643950241" sldId="296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3514226361" sldId="297"/>
        </pc:sldMkLst>
      </pc:sldChg>
      <pc:sldChg chg="add del">
        <pc:chgData name="Daniel Laskewitz" userId="004e9a81-59d4-47b4-8bee-4f6da7cf9d9d" providerId="ADAL" clId="{B7E1987E-F849-430F-A364-DDFF2666125D}" dt="2025-10-16T19:10:32.322" v="78"/>
        <pc:sldMkLst>
          <pc:docMk/>
          <pc:sldMk cId="3131052327" sldId="298"/>
        </pc:sldMkLst>
      </pc:sldChg>
      <pc:sldChg chg="add del">
        <pc:chgData name="Daniel Laskewitz" userId="004e9a81-59d4-47b4-8bee-4f6da7cf9d9d" providerId="ADAL" clId="{B7E1987E-F849-430F-A364-DDFF2666125D}" dt="2025-10-16T19:09:42.263" v="75"/>
        <pc:sldMkLst>
          <pc:docMk/>
          <pc:sldMk cId="2569399591" sldId="301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3905944101" sldId="301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2662749588" sldId="302"/>
        </pc:sldMkLst>
      </pc:sldChg>
      <pc:sldChg chg="add del">
        <pc:chgData name="Daniel Laskewitz" userId="004e9a81-59d4-47b4-8bee-4f6da7cf9d9d" providerId="ADAL" clId="{B7E1987E-F849-430F-A364-DDFF2666125D}" dt="2025-10-16T19:10:32.322" v="78"/>
        <pc:sldMkLst>
          <pc:docMk/>
          <pc:sldMk cId="638727133" sldId="304"/>
        </pc:sldMkLst>
      </pc:sldChg>
      <pc:sldChg chg="del">
        <pc:chgData name="Daniel Laskewitz" userId="004e9a81-59d4-47b4-8bee-4f6da7cf9d9d" providerId="ADAL" clId="{B7E1987E-F849-430F-A364-DDFF2666125D}" dt="2025-10-16T19:08:26.803" v="1" actId="47"/>
        <pc:sldMkLst>
          <pc:docMk/>
          <pc:sldMk cId="3007319850" sldId="304"/>
        </pc:sldMkLst>
      </pc:sldChg>
      <pc:sldChg chg="add del">
        <pc:chgData name="Daniel Laskewitz" userId="004e9a81-59d4-47b4-8bee-4f6da7cf9d9d" providerId="ADAL" clId="{B7E1987E-F849-430F-A364-DDFF2666125D}" dt="2025-10-16T19:10:32.322" v="78"/>
        <pc:sldMkLst>
          <pc:docMk/>
          <pc:sldMk cId="1860396954" sldId="305"/>
        </pc:sldMkLst>
      </pc:sldChg>
      <pc:sldChg chg="del">
        <pc:chgData name="Daniel Laskewitz" userId="004e9a81-59d4-47b4-8bee-4f6da7cf9d9d" providerId="ADAL" clId="{B7E1987E-F849-430F-A364-DDFF2666125D}" dt="2025-10-16T19:08:26.803" v="1" actId="47"/>
        <pc:sldMkLst>
          <pc:docMk/>
          <pc:sldMk cId="2619084777" sldId="305"/>
        </pc:sldMkLst>
      </pc:sldChg>
      <pc:sldChg chg="add del">
        <pc:chgData name="Daniel Laskewitz" userId="004e9a81-59d4-47b4-8bee-4f6da7cf9d9d" providerId="ADAL" clId="{B7E1987E-F849-430F-A364-DDFF2666125D}" dt="2025-10-16T19:10:32.322" v="78"/>
        <pc:sldMkLst>
          <pc:docMk/>
          <pc:sldMk cId="104154804" sldId="306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4022266204" sldId="306"/>
        </pc:sldMkLst>
      </pc:sldChg>
      <pc:sldChg chg="del">
        <pc:chgData name="Daniel Laskewitz" userId="004e9a81-59d4-47b4-8bee-4f6da7cf9d9d" providerId="ADAL" clId="{B7E1987E-F849-430F-A364-DDFF2666125D}" dt="2025-10-16T19:08:52.047" v="66" actId="47"/>
        <pc:sldMkLst>
          <pc:docMk/>
          <pc:sldMk cId="1686998059" sldId="307"/>
        </pc:sldMkLst>
      </pc:sldChg>
      <pc:sldChg chg="addSp delSp modSp new mod">
        <pc:chgData name="Daniel Laskewitz" userId="004e9a81-59d4-47b4-8bee-4f6da7cf9d9d" providerId="ADAL" clId="{B7E1987E-F849-430F-A364-DDFF2666125D}" dt="2025-10-16T19:19:21.306" v="653" actId="1076"/>
        <pc:sldMkLst>
          <pc:docMk/>
          <pc:sldMk cId="2296715560" sldId="307"/>
        </pc:sldMkLst>
        <pc:spChg chg="mod">
          <ac:chgData name="Daniel Laskewitz" userId="004e9a81-59d4-47b4-8bee-4f6da7cf9d9d" providerId="ADAL" clId="{B7E1987E-F849-430F-A364-DDFF2666125D}" dt="2025-10-16T19:19:12.258" v="648" actId="20577"/>
          <ac:spMkLst>
            <pc:docMk/>
            <pc:sldMk cId="2296715560" sldId="307"/>
            <ac:spMk id="2" creationId="{56D24055-ADB7-04A2-4316-FC0B587CCAF8}"/>
          </ac:spMkLst>
        </pc:spChg>
        <pc:spChg chg="del mod">
          <ac:chgData name="Daniel Laskewitz" userId="004e9a81-59d4-47b4-8bee-4f6da7cf9d9d" providerId="ADAL" clId="{B7E1987E-F849-430F-A364-DDFF2666125D}" dt="2025-10-16T19:19:14.473" v="649" actId="478"/>
          <ac:spMkLst>
            <pc:docMk/>
            <pc:sldMk cId="2296715560" sldId="307"/>
            <ac:spMk id="3" creationId="{A17AE75F-B635-0D67-78AC-CA7D385833C9}"/>
          </ac:spMkLst>
        </pc:spChg>
        <pc:spChg chg="add del mod">
          <ac:chgData name="Daniel Laskewitz" userId="004e9a81-59d4-47b4-8bee-4f6da7cf9d9d" providerId="ADAL" clId="{B7E1987E-F849-430F-A364-DDFF2666125D}" dt="2025-10-16T19:19:16.033" v="650" actId="478"/>
          <ac:spMkLst>
            <pc:docMk/>
            <pc:sldMk cId="2296715560" sldId="307"/>
            <ac:spMk id="5" creationId="{4AC84F05-AD52-3A24-DD92-92F1C3F67C0F}"/>
          </ac:spMkLst>
        </pc:spChg>
        <pc:picChg chg="add mod">
          <ac:chgData name="Daniel Laskewitz" userId="004e9a81-59d4-47b4-8bee-4f6da7cf9d9d" providerId="ADAL" clId="{B7E1987E-F849-430F-A364-DDFF2666125D}" dt="2025-10-16T19:19:21.306" v="653" actId="1076"/>
          <ac:picMkLst>
            <pc:docMk/>
            <pc:sldMk cId="2296715560" sldId="307"/>
            <ac:picMk id="7" creationId="{AF0A9C56-9E57-B55C-D1AA-5A5DF67F789A}"/>
          </ac:picMkLst>
        </pc:picChg>
      </pc:sldChg>
      <pc:sldChg chg="modSp new mod modAnim">
        <pc:chgData name="Daniel Laskewitz" userId="004e9a81-59d4-47b4-8bee-4f6da7cf9d9d" providerId="ADAL" clId="{B7E1987E-F849-430F-A364-DDFF2666125D}" dt="2025-10-16T19:13:39.350" v="466"/>
        <pc:sldMkLst>
          <pc:docMk/>
          <pc:sldMk cId="712040311" sldId="308"/>
        </pc:sldMkLst>
        <pc:spChg chg="mod">
          <ac:chgData name="Daniel Laskewitz" userId="004e9a81-59d4-47b4-8bee-4f6da7cf9d9d" providerId="ADAL" clId="{B7E1987E-F849-430F-A364-DDFF2666125D}" dt="2025-10-16T19:11:49.450" v="108" actId="20577"/>
          <ac:spMkLst>
            <pc:docMk/>
            <pc:sldMk cId="712040311" sldId="308"/>
            <ac:spMk id="2" creationId="{56ADF6AC-1038-BE2B-8333-8BF36323A24C}"/>
          </ac:spMkLst>
        </pc:spChg>
        <pc:spChg chg="mod">
          <ac:chgData name="Daniel Laskewitz" userId="004e9a81-59d4-47b4-8bee-4f6da7cf9d9d" providerId="ADAL" clId="{B7E1987E-F849-430F-A364-DDFF2666125D}" dt="2025-10-16T19:13:24.627" v="464" actId="20577"/>
          <ac:spMkLst>
            <pc:docMk/>
            <pc:sldMk cId="712040311" sldId="308"/>
            <ac:spMk id="3" creationId="{500284D6-6481-D08D-A12B-1773EE52A945}"/>
          </ac:spMkLst>
        </pc:spChg>
      </pc:sldChg>
      <pc:sldChg chg="modSp add mod">
        <pc:chgData name="Daniel Laskewitz" userId="004e9a81-59d4-47b4-8bee-4f6da7cf9d9d" providerId="ADAL" clId="{B7E1987E-F849-430F-A364-DDFF2666125D}" dt="2025-10-17T08:06:47.193" v="743" actId="1076"/>
        <pc:sldMkLst>
          <pc:docMk/>
          <pc:sldMk cId="140879727" sldId="309"/>
        </pc:sldMkLst>
        <pc:picChg chg="mod">
          <ac:chgData name="Daniel Laskewitz" userId="004e9a81-59d4-47b4-8bee-4f6da7cf9d9d" providerId="ADAL" clId="{B7E1987E-F849-430F-A364-DDFF2666125D}" dt="2025-10-17T08:06:47.193" v="743" actId="1076"/>
          <ac:picMkLst>
            <pc:docMk/>
            <pc:sldMk cId="140879727" sldId="309"/>
            <ac:picMk id="4" creationId="{0CB711C0-5B49-6778-CC47-9ECD3B49F6D2}"/>
          </ac:picMkLst>
        </pc:picChg>
      </pc:sldChg>
      <pc:sldChg chg="modSp new del mod">
        <pc:chgData name="Daniel Laskewitz" userId="004e9a81-59d4-47b4-8bee-4f6da7cf9d9d" providerId="ADAL" clId="{B7E1987E-F849-430F-A364-DDFF2666125D}" dt="2025-10-16T19:14:23.923" v="499" actId="2696"/>
        <pc:sldMkLst>
          <pc:docMk/>
          <pc:sldMk cId="2678104633" sldId="309"/>
        </pc:sldMkLst>
        <pc:spChg chg="mod">
          <ac:chgData name="Daniel Laskewitz" userId="004e9a81-59d4-47b4-8bee-4f6da7cf9d9d" providerId="ADAL" clId="{B7E1987E-F849-430F-A364-DDFF2666125D}" dt="2025-10-16T19:14:20.583" v="498" actId="20577"/>
          <ac:spMkLst>
            <pc:docMk/>
            <pc:sldMk cId="2678104633" sldId="309"/>
            <ac:spMk id="2" creationId="{ABEA8442-8B13-7788-4506-5ED351FF0FE9}"/>
          </ac:spMkLst>
        </pc:spChg>
      </pc:sldChg>
      <pc:sldChg chg="addSp delSp modSp add mod">
        <pc:chgData name="Daniel Laskewitz" userId="004e9a81-59d4-47b4-8bee-4f6da7cf9d9d" providerId="ADAL" clId="{B7E1987E-F849-430F-A364-DDFF2666125D}" dt="2025-10-17T08:07:02.021" v="745" actId="1076"/>
        <pc:sldMkLst>
          <pc:docMk/>
          <pc:sldMk cId="1073829606" sldId="310"/>
        </pc:sldMkLst>
        <pc:spChg chg="mod">
          <ac:chgData name="Daniel Laskewitz" userId="004e9a81-59d4-47b4-8bee-4f6da7cf9d9d" providerId="ADAL" clId="{B7E1987E-F849-430F-A364-DDFF2666125D}" dt="2025-10-16T19:14:37.190" v="529" actId="20577"/>
          <ac:spMkLst>
            <pc:docMk/>
            <pc:sldMk cId="1073829606" sldId="310"/>
            <ac:spMk id="2" creationId="{BBBAEAC8-F5DF-8CCA-281E-6740CC60CD91}"/>
          </ac:spMkLst>
        </pc:spChg>
        <pc:spChg chg="del">
          <ac:chgData name="Daniel Laskewitz" userId="004e9a81-59d4-47b4-8bee-4f6da7cf9d9d" providerId="ADAL" clId="{B7E1987E-F849-430F-A364-DDFF2666125D}" dt="2025-10-17T08:03:54.724" v="724" actId="478"/>
          <ac:spMkLst>
            <pc:docMk/>
            <pc:sldMk cId="1073829606" sldId="310"/>
            <ac:spMk id="3" creationId="{FD72805D-266F-E808-13EA-1419D9A497B8}"/>
          </ac:spMkLst>
        </pc:spChg>
        <pc:picChg chg="add mod modCrop">
          <ac:chgData name="Daniel Laskewitz" userId="004e9a81-59d4-47b4-8bee-4f6da7cf9d9d" providerId="ADAL" clId="{B7E1987E-F849-430F-A364-DDFF2666125D}" dt="2025-10-17T08:07:02.021" v="745" actId="1076"/>
          <ac:picMkLst>
            <pc:docMk/>
            <pc:sldMk cId="1073829606" sldId="310"/>
            <ac:picMk id="5" creationId="{433B589B-A77F-4E8F-8A66-C7D95DC9170C}"/>
          </ac:picMkLst>
        </pc:picChg>
      </pc:sldChg>
      <pc:sldChg chg="addSp delSp modSp new mod modClrScheme chgLayout">
        <pc:chgData name="Daniel Laskewitz" userId="004e9a81-59d4-47b4-8bee-4f6da7cf9d9d" providerId="ADAL" clId="{B7E1987E-F849-430F-A364-DDFF2666125D}" dt="2025-10-16T19:15:22.332" v="566" actId="5793"/>
        <pc:sldMkLst>
          <pc:docMk/>
          <pc:sldMk cId="488815745" sldId="311"/>
        </pc:sldMkLst>
        <pc:spChg chg="del mod ord">
          <ac:chgData name="Daniel Laskewitz" userId="004e9a81-59d4-47b4-8bee-4f6da7cf9d9d" providerId="ADAL" clId="{B7E1987E-F849-430F-A364-DDFF2666125D}" dt="2025-10-16T19:15:08.293" v="532" actId="700"/>
          <ac:spMkLst>
            <pc:docMk/>
            <pc:sldMk cId="488815745" sldId="311"/>
            <ac:spMk id="2" creationId="{AADD4849-13C4-7EF7-35C5-E36BC125157D}"/>
          </ac:spMkLst>
        </pc:spChg>
        <pc:spChg chg="del">
          <ac:chgData name="Daniel Laskewitz" userId="004e9a81-59d4-47b4-8bee-4f6da7cf9d9d" providerId="ADAL" clId="{B7E1987E-F849-430F-A364-DDFF2666125D}" dt="2025-10-16T19:14:53.884" v="531" actId="478"/>
          <ac:spMkLst>
            <pc:docMk/>
            <pc:sldMk cId="488815745" sldId="311"/>
            <ac:spMk id="3" creationId="{EB8167A1-90CB-5913-5B44-BEAD7BB983CB}"/>
          </ac:spMkLst>
        </pc:spChg>
        <pc:spChg chg="add mod ord">
          <ac:chgData name="Daniel Laskewitz" userId="004e9a81-59d4-47b4-8bee-4f6da7cf9d9d" providerId="ADAL" clId="{B7E1987E-F849-430F-A364-DDFF2666125D}" dt="2025-10-16T19:15:22.332" v="566" actId="5793"/>
          <ac:spMkLst>
            <pc:docMk/>
            <pc:sldMk cId="488815745" sldId="311"/>
            <ac:spMk id="4" creationId="{A65F8C91-12F8-34B6-456B-4B25DD4F5FF8}"/>
          </ac:spMkLst>
        </pc:spChg>
        <pc:spChg chg="add del mod ord">
          <ac:chgData name="Daniel Laskewitz" userId="004e9a81-59d4-47b4-8bee-4f6da7cf9d9d" providerId="ADAL" clId="{B7E1987E-F849-430F-A364-DDFF2666125D}" dt="2025-10-16T19:15:10.699" v="533" actId="478"/>
          <ac:spMkLst>
            <pc:docMk/>
            <pc:sldMk cId="488815745" sldId="311"/>
            <ac:spMk id="5" creationId="{4D9EDDB6-E159-5DD9-2D4E-27EB529CEF00}"/>
          </ac:spMkLst>
        </pc:spChg>
        <pc:spChg chg="add del mod ord">
          <ac:chgData name="Daniel Laskewitz" userId="004e9a81-59d4-47b4-8bee-4f6da7cf9d9d" providerId="ADAL" clId="{B7E1987E-F849-430F-A364-DDFF2666125D}" dt="2025-10-16T19:15:13.432" v="534" actId="478"/>
          <ac:spMkLst>
            <pc:docMk/>
            <pc:sldMk cId="488815745" sldId="311"/>
            <ac:spMk id="6" creationId="{716791E1-F9F6-F139-4FFE-453FCCE03210}"/>
          </ac:spMkLst>
        </pc:spChg>
        <pc:spChg chg="add del mod ord">
          <ac:chgData name="Daniel Laskewitz" userId="004e9a81-59d4-47b4-8bee-4f6da7cf9d9d" providerId="ADAL" clId="{B7E1987E-F849-430F-A364-DDFF2666125D}" dt="2025-10-16T19:15:13.432" v="534" actId="478"/>
          <ac:spMkLst>
            <pc:docMk/>
            <pc:sldMk cId="488815745" sldId="311"/>
            <ac:spMk id="7" creationId="{C7E1AC6F-90EE-73EF-0A4B-01E316E02F5D}"/>
          </ac:spMkLst>
        </pc:spChg>
        <pc:spChg chg="add del mod ord">
          <ac:chgData name="Daniel Laskewitz" userId="004e9a81-59d4-47b4-8bee-4f6da7cf9d9d" providerId="ADAL" clId="{B7E1987E-F849-430F-A364-DDFF2666125D}" dt="2025-10-16T19:15:13.432" v="534" actId="478"/>
          <ac:spMkLst>
            <pc:docMk/>
            <pc:sldMk cId="488815745" sldId="311"/>
            <ac:spMk id="8" creationId="{C55E44E9-2EA4-594A-058E-767106E51448}"/>
          </ac:spMkLst>
        </pc:spChg>
        <pc:spChg chg="add del mod ord">
          <ac:chgData name="Daniel Laskewitz" userId="004e9a81-59d4-47b4-8bee-4f6da7cf9d9d" providerId="ADAL" clId="{B7E1987E-F849-430F-A364-DDFF2666125D}" dt="2025-10-16T19:15:13.432" v="534" actId="478"/>
          <ac:spMkLst>
            <pc:docMk/>
            <pc:sldMk cId="488815745" sldId="311"/>
            <ac:spMk id="9" creationId="{633537BB-EEE8-F886-ECDB-BC83BFC9A29A}"/>
          </ac:spMkLst>
        </pc:spChg>
        <pc:spChg chg="add del mod ord">
          <ac:chgData name="Daniel Laskewitz" userId="004e9a81-59d4-47b4-8bee-4f6da7cf9d9d" providerId="ADAL" clId="{B7E1987E-F849-430F-A364-DDFF2666125D}" dt="2025-10-16T19:15:13.432" v="534" actId="478"/>
          <ac:spMkLst>
            <pc:docMk/>
            <pc:sldMk cId="488815745" sldId="311"/>
            <ac:spMk id="10" creationId="{A9DC42B8-A13E-F846-D1B3-F465B3000AB4}"/>
          </ac:spMkLst>
        </pc:spChg>
        <pc:spChg chg="add del mod ord">
          <ac:chgData name="Daniel Laskewitz" userId="004e9a81-59d4-47b4-8bee-4f6da7cf9d9d" providerId="ADAL" clId="{B7E1987E-F849-430F-A364-DDFF2666125D}" dt="2025-10-16T19:15:13.432" v="534" actId="478"/>
          <ac:spMkLst>
            <pc:docMk/>
            <pc:sldMk cId="488815745" sldId="311"/>
            <ac:spMk id="11" creationId="{172C9730-A98E-CB0A-7ABA-DFE2B420A80E}"/>
          </ac:spMkLst>
        </pc:spChg>
        <pc:spChg chg="del">
          <ac:chgData name="Daniel Laskewitz" userId="004e9a81-59d4-47b4-8bee-4f6da7cf9d9d" providerId="ADAL" clId="{B7E1987E-F849-430F-A364-DDFF2666125D}" dt="2025-10-16T19:15:13.432" v="534" actId="478"/>
          <ac:spMkLst>
            <pc:docMk/>
            <pc:sldMk cId="488815745" sldId="311"/>
            <ac:spMk id="12" creationId="{8913DDC0-A46B-F40E-A4C6-09FAABA9E50E}"/>
          </ac:spMkLst>
        </pc:spChg>
        <pc:spChg chg="add del mod ord">
          <ac:chgData name="Daniel Laskewitz" userId="004e9a81-59d4-47b4-8bee-4f6da7cf9d9d" providerId="ADAL" clId="{B7E1987E-F849-430F-A364-DDFF2666125D}" dt="2025-10-16T19:15:13.432" v="534" actId="478"/>
          <ac:spMkLst>
            <pc:docMk/>
            <pc:sldMk cId="488815745" sldId="311"/>
            <ac:spMk id="13" creationId="{227E07B1-85D5-9AA0-105B-F72E810D1CA8}"/>
          </ac:spMkLst>
        </pc:spChg>
      </pc:sldChg>
      <pc:sldChg chg="modSp new mod">
        <pc:chgData name="Daniel Laskewitz" userId="004e9a81-59d4-47b4-8bee-4f6da7cf9d9d" providerId="ADAL" clId="{B7E1987E-F849-430F-A364-DDFF2666125D}" dt="2025-10-16T19:16:10.974" v="620" actId="20577"/>
        <pc:sldMkLst>
          <pc:docMk/>
          <pc:sldMk cId="2951452558" sldId="312"/>
        </pc:sldMkLst>
        <pc:spChg chg="mod">
          <ac:chgData name="Daniel Laskewitz" userId="004e9a81-59d4-47b4-8bee-4f6da7cf9d9d" providerId="ADAL" clId="{B7E1987E-F849-430F-A364-DDFF2666125D}" dt="2025-10-16T19:15:35.323" v="573" actId="20577"/>
          <ac:spMkLst>
            <pc:docMk/>
            <pc:sldMk cId="2951452558" sldId="312"/>
            <ac:spMk id="2" creationId="{831E5D80-CEC9-A2E6-8AC7-A579F88F6D45}"/>
          </ac:spMkLst>
        </pc:spChg>
        <pc:spChg chg="mod">
          <ac:chgData name="Daniel Laskewitz" userId="004e9a81-59d4-47b4-8bee-4f6da7cf9d9d" providerId="ADAL" clId="{B7E1987E-F849-430F-A364-DDFF2666125D}" dt="2025-10-16T19:16:10.974" v="620" actId="20577"/>
          <ac:spMkLst>
            <pc:docMk/>
            <pc:sldMk cId="2951452558" sldId="312"/>
            <ac:spMk id="3" creationId="{89199033-BD1B-185E-8163-64F890FA1116}"/>
          </ac:spMkLst>
        </pc:spChg>
        <pc:spChg chg="mod">
          <ac:chgData name="Daniel Laskewitz" userId="004e9a81-59d4-47b4-8bee-4f6da7cf9d9d" providerId="ADAL" clId="{B7E1987E-F849-430F-A364-DDFF2666125D}" dt="2025-10-16T19:15:45.544" v="583" actId="20577"/>
          <ac:spMkLst>
            <pc:docMk/>
            <pc:sldMk cId="2951452558" sldId="312"/>
            <ac:spMk id="4" creationId="{CBC6F2AC-504F-ACE8-F556-4D05459E58EC}"/>
          </ac:spMkLst>
        </pc:spChg>
        <pc:spChg chg="mod">
          <ac:chgData name="Daniel Laskewitz" userId="004e9a81-59d4-47b4-8bee-4f6da7cf9d9d" providerId="ADAL" clId="{B7E1987E-F849-430F-A364-DDFF2666125D}" dt="2025-10-16T19:15:50.323" v="588" actId="20577"/>
          <ac:spMkLst>
            <pc:docMk/>
            <pc:sldMk cId="2951452558" sldId="312"/>
            <ac:spMk id="5" creationId="{0AAECEB2-A750-D7E3-5378-B80C83B32178}"/>
          </ac:spMkLst>
        </pc:spChg>
        <pc:spChg chg="mod">
          <ac:chgData name="Daniel Laskewitz" userId="004e9a81-59d4-47b4-8bee-4f6da7cf9d9d" providerId="ADAL" clId="{B7E1987E-F849-430F-A364-DDFF2666125D}" dt="2025-10-16T19:15:58.020" v="608" actId="20577"/>
          <ac:spMkLst>
            <pc:docMk/>
            <pc:sldMk cId="2951452558" sldId="312"/>
            <ac:spMk id="6" creationId="{DAEAE46C-863B-7284-AA47-FB211D60A452}"/>
          </ac:spMkLst>
        </pc:spChg>
        <pc:spChg chg="mod">
          <ac:chgData name="Daniel Laskewitz" userId="004e9a81-59d4-47b4-8bee-4f6da7cf9d9d" providerId="ADAL" clId="{B7E1987E-F849-430F-A364-DDFF2666125D}" dt="2025-10-16T19:16:01.023" v="613" actId="20577"/>
          <ac:spMkLst>
            <pc:docMk/>
            <pc:sldMk cId="2951452558" sldId="312"/>
            <ac:spMk id="7" creationId="{94F4EC73-9326-7220-3315-B4782784D2FF}"/>
          </ac:spMkLst>
        </pc:spChg>
      </pc:sldChg>
      <pc:sldChg chg="modSp add mod">
        <pc:chgData name="Daniel Laskewitz" userId="004e9a81-59d4-47b4-8bee-4f6da7cf9d9d" providerId="ADAL" clId="{B7E1987E-F849-430F-A364-DDFF2666125D}" dt="2025-10-17T09:16:31.212" v="764" actId="207"/>
        <pc:sldMkLst>
          <pc:docMk/>
          <pc:sldMk cId="1736724297" sldId="313"/>
        </pc:sldMkLst>
        <pc:spChg chg="mod">
          <ac:chgData name="Daniel Laskewitz" userId="004e9a81-59d4-47b4-8bee-4f6da7cf9d9d" providerId="ADAL" clId="{B7E1987E-F849-430F-A364-DDFF2666125D}" dt="2025-10-17T09:16:31.212" v="764" actId="207"/>
          <ac:spMkLst>
            <pc:docMk/>
            <pc:sldMk cId="1736724297" sldId="313"/>
            <ac:spMk id="3" creationId="{CF709404-4FF5-109A-D679-A631D47DCBC6}"/>
          </ac:spMkLst>
        </pc:spChg>
      </pc:sldChg>
      <pc:sldMasterChg chg="delSldLayout">
        <pc:chgData name="Daniel Laskewitz" userId="004e9a81-59d4-47b4-8bee-4f6da7cf9d9d" providerId="ADAL" clId="{B7E1987E-F849-430F-A364-DDFF2666125D}" dt="2025-10-16T19:08:52.047" v="66" actId="47"/>
        <pc:sldMasterMkLst>
          <pc:docMk/>
          <pc:sldMasterMk cId="2020574204" sldId="2147483648"/>
        </pc:sldMasterMkLst>
        <pc:sldLayoutChg chg="del">
          <pc:chgData name="Daniel Laskewitz" userId="004e9a81-59d4-47b4-8bee-4f6da7cf9d9d" providerId="ADAL" clId="{B7E1987E-F849-430F-A364-DDFF2666125D}" dt="2025-10-16T19:08:22.586" v="0" actId="47"/>
          <pc:sldLayoutMkLst>
            <pc:docMk/>
            <pc:sldMasterMk cId="2020574204" sldId="2147483648"/>
            <pc:sldLayoutMk cId="2774138570" sldId="2147483677"/>
          </pc:sldLayoutMkLst>
        </pc:sldLayoutChg>
        <pc:sldLayoutChg chg="del">
          <pc:chgData name="Daniel Laskewitz" userId="004e9a81-59d4-47b4-8bee-4f6da7cf9d9d" providerId="ADAL" clId="{B7E1987E-F849-430F-A364-DDFF2666125D}" dt="2025-10-16T19:08:52.047" v="66" actId="47"/>
          <pc:sldLayoutMkLst>
            <pc:docMk/>
            <pc:sldMasterMk cId="2020574204" sldId="2147483648"/>
            <pc:sldLayoutMk cId="368709914" sldId="2147483684"/>
          </pc:sldLayoutMkLst>
        </pc:sldLayoutChg>
      </pc:sldMasterChg>
    </pc:docChg>
  </pc:docChgLst>
  <pc:docChgLst>
    <pc:chgData name="Aaron Rendell" userId="f27b094e-8669-4d60-ad27-0d6d2af67856" providerId="ADAL" clId="{2BB4FE60-7229-4C74-8123-17E913BF2CC0}"/>
    <pc:docChg chg="undo custSel addSld delSld modSld modMainMaster">
      <pc:chgData name="Aaron Rendell" userId="f27b094e-8669-4d60-ad27-0d6d2af67856" providerId="ADAL" clId="{2BB4FE60-7229-4C74-8123-17E913BF2CC0}" dt="2025-10-11T13:14:01.523" v="257"/>
      <pc:docMkLst>
        <pc:docMk/>
      </pc:docMkLst>
      <pc:sldChg chg="add">
        <pc:chgData name="Aaron Rendell" userId="f27b094e-8669-4d60-ad27-0d6d2af67856" providerId="ADAL" clId="{2BB4FE60-7229-4C74-8123-17E913BF2CC0}" dt="2025-10-11T10:46:36.989" v="0"/>
        <pc:sldMkLst>
          <pc:docMk/>
          <pc:sldMk cId="0" sldId="256"/>
        </pc:sldMkLst>
      </pc:sldChg>
      <pc:sldChg chg="modSp add mod">
        <pc:chgData name="Aaron Rendell" userId="f27b094e-8669-4d60-ad27-0d6d2af67856" providerId="ADAL" clId="{2BB4FE60-7229-4C74-8123-17E913BF2CC0}" dt="2025-10-11T13:02:55.364" v="111" actId="2711"/>
        <pc:sldMkLst>
          <pc:docMk/>
          <pc:sldMk cId="0" sldId="257"/>
        </pc:sldMkLst>
        <pc:spChg chg="mod">
          <ac:chgData name="Aaron Rendell" userId="f27b094e-8669-4d60-ad27-0d6d2af67856" providerId="ADAL" clId="{2BB4FE60-7229-4C74-8123-17E913BF2CC0}" dt="2025-10-11T13:02:55.364" v="111" actId="2711"/>
          <ac:spMkLst>
            <pc:docMk/>
            <pc:sldMk cId="0" sldId="257"/>
            <ac:spMk id="2" creationId="{00000000-0000-0000-0000-000000000000}"/>
          </ac:spMkLst>
        </pc:spChg>
      </pc:sldChg>
      <pc:sldChg chg="addSp delSp modSp add mod">
        <pc:chgData name="Aaron Rendell" userId="f27b094e-8669-4d60-ad27-0d6d2af67856" providerId="ADAL" clId="{2BB4FE60-7229-4C74-8123-17E913BF2CC0}" dt="2025-10-11T13:09:28.219" v="208" actId="1076"/>
        <pc:sldMkLst>
          <pc:docMk/>
          <pc:sldMk cId="0" sldId="303"/>
        </pc:sldMkLst>
        <pc:spChg chg="add mod">
          <ac:chgData name="Aaron Rendell" userId="f27b094e-8669-4d60-ad27-0d6d2af67856" providerId="ADAL" clId="{2BB4FE60-7229-4C74-8123-17E913BF2CC0}" dt="2025-10-11T12:57:19.088" v="55" actId="207"/>
          <ac:spMkLst>
            <pc:docMk/>
            <pc:sldMk cId="0" sldId="303"/>
            <ac:spMk id="62" creationId="{6E21E196-D477-89EC-79DC-FEDE3F76D670}"/>
          </ac:spMkLst>
        </pc:spChg>
        <pc:spChg chg="add mod">
          <ac:chgData name="Aaron Rendell" userId="f27b094e-8669-4d60-ad27-0d6d2af67856" providerId="ADAL" clId="{2BB4FE60-7229-4C74-8123-17E913BF2CC0}" dt="2025-10-11T10:48:42.547" v="6"/>
          <ac:spMkLst>
            <pc:docMk/>
            <pc:sldMk cId="0" sldId="303"/>
            <ac:spMk id="64" creationId="{22FED8AD-2976-FFAD-7216-C38A1784113E}"/>
          </ac:spMkLst>
        </pc:spChg>
        <pc:spChg chg="add mod">
          <ac:chgData name="Aaron Rendell" userId="f27b094e-8669-4d60-ad27-0d6d2af67856" providerId="ADAL" clId="{2BB4FE60-7229-4C74-8123-17E913BF2CC0}" dt="2025-10-11T13:05:18.953" v="146" actId="948"/>
          <ac:spMkLst>
            <pc:docMk/>
            <pc:sldMk cId="0" sldId="303"/>
            <ac:spMk id="67" creationId="{C6AB3C38-BC31-2B58-E826-116100035A0C}"/>
          </ac:spMkLst>
        </pc:spChg>
        <pc:picChg chg="mod">
          <ac:chgData name="Aaron Rendell" userId="f27b094e-8669-4d60-ad27-0d6d2af67856" providerId="ADAL" clId="{2BB4FE60-7229-4C74-8123-17E913BF2CC0}" dt="2025-10-11T13:07:37.705" v="177" actId="1076"/>
          <ac:picMkLst>
            <pc:docMk/>
            <pc:sldMk cId="0" sldId="303"/>
            <ac:picMk id="7" creationId="{FA0751DF-6E93-367D-8563-F9929B44ED6D}"/>
          </ac:picMkLst>
        </pc:picChg>
        <pc:picChg chg="mod">
          <ac:chgData name="Aaron Rendell" userId="f27b094e-8669-4d60-ad27-0d6d2af67856" providerId="ADAL" clId="{2BB4FE60-7229-4C74-8123-17E913BF2CC0}" dt="2025-10-11T13:07:01.779" v="165" actId="1076"/>
          <ac:picMkLst>
            <pc:docMk/>
            <pc:sldMk cId="0" sldId="303"/>
            <ac:picMk id="8" creationId="{95B616BD-BC65-0D7C-59AD-4111BAA0AE6E}"/>
          </ac:picMkLst>
        </pc:picChg>
        <pc:picChg chg="add mod">
          <ac:chgData name="Aaron Rendell" userId="f27b094e-8669-4d60-ad27-0d6d2af67856" providerId="ADAL" clId="{2BB4FE60-7229-4C74-8123-17E913BF2CC0}" dt="2025-10-11T13:05:30.471" v="148" actId="1076"/>
          <ac:picMkLst>
            <pc:docMk/>
            <pc:sldMk cId="0" sldId="303"/>
            <ac:picMk id="9" creationId="{AE93EDEB-6A74-C614-12DA-AFFCA79F141D}"/>
          </ac:picMkLst>
        </pc:picChg>
        <pc:picChg chg="mod">
          <ac:chgData name="Aaron Rendell" userId="f27b094e-8669-4d60-ad27-0d6d2af67856" providerId="ADAL" clId="{2BB4FE60-7229-4C74-8123-17E913BF2CC0}" dt="2025-10-11T13:09:26.615" v="207" actId="1076"/>
          <ac:picMkLst>
            <pc:docMk/>
            <pc:sldMk cId="0" sldId="303"/>
            <ac:picMk id="14" creationId="{87D8A918-E24D-81B6-EBB8-3886FF780E29}"/>
          </ac:picMkLst>
        </pc:picChg>
        <pc:picChg chg="add mod">
          <ac:chgData name="Aaron Rendell" userId="f27b094e-8669-4d60-ad27-0d6d2af67856" providerId="ADAL" clId="{2BB4FE60-7229-4C74-8123-17E913BF2CC0}" dt="2025-10-11T13:07:51.509" v="183" actId="1076"/>
          <ac:picMkLst>
            <pc:docMk/>
            <pc:sldMk cId="0" sldId="303"/>
            <ac:picMk id="16" creationId="{15C1CBDC-C581-00E9-9FE3-A0B12DD5D2E7}"/>
          </ac:picMkLst>
        </pc:picChg>
        <pc:picChg chg="mod">
          <ac:chgData name="Aaron Rendell" userId="f27b094e-8669-4d60-ad27-0d6d2af67856" providerId="ADAL" clId="{2BB4FE60-7229-4C74-8123-17E913BF2CC0}" dt="2025-10-11T13:09:28.219" v="208" actId="1076"/>
          <ac:picMkLst>
            <pc:docMk/>
            <pc:sldMk cId="0" sldId="303"/>
            <ac:picMk id="17" creationId="{78FC5AA5-D1A6-9028-5C49-CB9B1E663C95}"/>
          </ac:picMkLst>
        </pc:picChg>
        <pc:picChg chg="mod">
          <ac:chgData name="Aaron Rendell" userId="f27b094e-8669-4d60-ad27-0d6d2af67856" providerId="ADAL" clId="{2BB4FE60-7229-4C74-8123-17E913BF2CC0}" dt="2025-10-11T13:07:07.170" v="166" actId="1076"/>
          <ac:picMkLst>
            <pc:docMk/>
            <pc:sldMk cId="0" sldId="303"/>
            <ac:picMk id="19" creationId="{7DA4843C-59F4-2523-900C-A096EAEE4CA9}"/>
          </ac:picMkLst>
        </pc:picChg>
        <pc:picChg chg="mod">
          <ac:chgData name="Aaron Rendell" userId="f27b094e-8669-4d60-ad27-0d6d2af67856" providerId="ADAL" clId="{2BB4FE60-7229-4C74-8123-17E913BF2CC0}" dt="2025-10-11T13:08:01.244" v="187" actId="1076"/>
          <ac:picMkLst>
            <pc:docMk/>
            <pc:sldMk cId="0" sldId="303"/>
            <ac:picMk id="21" creationId="{4CAE1AB5-87F1-4444-5929-EBA88D07AF6A}"/>
          </ac:picMkLst>
        </pc:picChg>
        <pc:picChg chg="mod">
          <ac:chgData name="Aaron Rendell" userId="f27b094e-8669-4d60-ad27-0d6d2af67856" providerId="ADAL" clId="{2BB4FE60-7229-4C74-8123-17E913BF2CC0}" dt="2025-10-11T13:08:05.701" v="189" actId="1076"/>
          <ac:picMkLst>
            <pc:docMk/>
            <pc:sldMk cId="0" sldId="303"/>
            <ac:picMk id="22" creationId="{AAD873D3-34C3-9EF0-BE5E-E0F93949157D}"/>
          </ac:picMkLst>
        </pc:picChg>
        <pc:picChg chg="mod">
          <ac:chgData name="Aaron Rendell" userId="f27b094e-8669-4d60-ad27-0d6d2af67856" providerId="ADAL" clId="{2BB4FE60-7229-4C74-8123-17E913BF2CC0}" dt="2025-10-11T13:08:02.672" v="188" actId="1076"/>
          <ac:picMkLst>
            <pc:docMk/>
            <pc:sldMk cId="0" sldId="303"/>
            <ac:picMk id="25" creationId="{A25DCE75-9F05-509D-3782-BD7C21AC6102}"/>
          </ac:picMkLst>
        </pc:picChg>
        <pc:picChg chg="mod">
          <ac:chgData name="Aaron Rendell" userId="f27b094e-8669-4d60-ad27-0d6d2af67856" providerId="ADAL" clId="{2BB4FE60-7229-4C74-8123-17E913BF2CC0}" dt="2025-10-11T13:07:11.733" v="167" actId="1076"/>
          <ac:picMkLst>
            <pc:docMk/>
            <pc:sldMk cId="0" sldId="303"/>
            <ac:picMk id="26" creationId="{0FB902A3-DF1A-2961-65BA-D044261FAF08}"/>
          </ac:picMkLst>
        </pc:picChg>
        <pc:picChg chg="mod">
          <ac:chgData name="Aaron Rendell" userId="f27b094e-8669-4d60-ad27-0d6d2af67856" providerId="ADAL" clId="{2BB4FE60-7229-4C74-8123-17E913BF2CC0}" dt="2025-10-11T13:06:52.929" v="161" actId="1076"/>
          <ac:picMkLst>
            <pc:docMk/>
            <pc:sldMk cId="0" sldId="303"/>
            <ac:picMk id="28" creationId="{CF14206C-FFDF-C97B-B53F-44163EE3814F}"/>
          </ac:picMkLst>
        </pc:picChg>
        <pc:picChg chg="mod">
          <ac:chgData name="Aaron Rendell" userId="f27b094e-8669-4d60-ad27-0d6d2af67856" providerId="ADAL" clId="{2BB4FE60-7229-4C74-8123-17E913BF2CC0}" dt="2025-10-11T13:07:47.582" v="181" actId="1076"/>
          <ac:picMkLst>
            <pc:docMk/>
            <pc:sldMk cId="0" sldId="303"/>
            <ac:picMk id="30" creationId="{B6220B15-37F0-3B6F-AD6D-37C31D45CCB6}"/>
          </ac:picMkLst>
        </pc:picChg>
        <pc:picChg chg="add mod">
          <ac:chgData name="Aaron Rendell" userId="f27b094e-8669-4d60-ad27-0d6d2af67856" providerId="ADAL" clId="{2BB4FE60-7229-4C74-8123-17E913BF2CC0}" dt="2025-10-11T13:05:27.265" v="147" actId="1076"/>
          <ac:picMkLst>
            <pc:docMk/>
            <pc:sldMk cId="0" sldId="303"/>
            <ac:picMk id="37" creationId="{45F6367F-411A-8CF1-739F-DAAE01A9E1BD}"/>
          </ac:picMkLst>
        </pc:picChg>
        <pc:picChg chg="mod">
          <ac:chgData name="Aaron Rendell" userId="f27b094e-8669-4d60-ad27-0d6d2af67856" providerId="ADAL" clId="{2BB4FE60-7229-4C74-8123-17E913BF2CC0}" dt="2025-10-11T13:07:49.508" v="182" actId="1076"/>
          <ac:picMkLst>
            <pc:docMk/>
            <pc:sldMk cId="0" sldId="303"/>
            <ac:picMk id="39" creationId="{CECD598A-62E7-0A2D-02C2-052DB76CDB59}"/>
          </ac:picMkLst>
        </pc:picChg>
        <pc:picChg chg="mod">
          <ac:chgData name="Aaron Rendell" userId="f27b094e-8669-4d60-ad27-0d6d2af67856" providerId="ADAL" clId="{2BB4FE60-7229-4C74-8123-17E913BF2CC0}" dt="2025-10-11T13:06:57.148" v="163" actId="1076"/>
          <ac:picMkLst>
            <pc:docMk/>
            <pc:sldMk cId="0" sldId="303"/>
            <ac:picMk id="40" creationId="{406872A8-3B46-DA6C-1506-A07C40EA190A}"/>
          </ac:picMkLst>
        </pc:picChg>
        <pc:picChg chg="mod">
          <ac:chgData name="Aaron Rendell" userId="f27b094e-8669-4d60-ad27-0d6d2af67856" providerId="ADAL" clId="{2BB4FE60-7229-4C74-8123-17E913BF2CC0}" dt="2025-10-11T13:07:43.281" v="179" actId="1076"/>
          <ac:picMkLst>
            <pc:docMk/>
            <pc:sldMk cId="0" sldId="303"/>
            <ac:picMk id="45" creationId="{41275C75-040F-D347-D9BE-75E196837B36}"/>
          </ac:picMkLst>
        </pc:picChg>
        <pc:picChg chg="mod">
          <ac:chgData name="Aaron Rendell" userId="f27b094e-8669-4d60-ad27-0d6d2af67856" providerId="ADAL" clId="{2BB4FE60-7229-4C74-8123-17E913BF2CC0}" dt="2025-10-11T13:07:45.432" v="180" actId="1076"/>
          <ac:picMkLst>
            <pc:docMk/>
            <pc:sldMk cId="0" sldId="303"/>
            <ac:picMk id="48" creationId="{AEEAD895-E88F-DA84-723B-A78C3515F665}"/>
          </ac:picMkLst>
        </pc:picChg>
        <pc:picChg chg="mod">
          <ac:chgData name="Aaron Rendell" userId="f27b094e-8669-4d60-ad27-0d6d2af67856" providerId="ADAL" clId="{2BB4FE60-7229-4C74-8123-17E913BF2CC0}" dt="2025-10-11T13:06:55.229" v="162" actId="1076"/>
          <ac:picMkLst>
            <pc:docMk/>
            <pc:sldMk cId="0" sldId="303"/>
            <ac:picMk id="51" creationId="{E2F21833-256F-5C01-9FE7-F290FDFDCD1E}"/>
          </ac:picMkLst>
        </pc:picChg>
        <pc:picChg chg="mod">
          <ac:chgData name="Aaron Rendell" userId="f27b094e-8669-4d60-ad27-0d6d2af67856" providerId="ADAL" clId="{2BB4FE60-7229-4C74-8123-17E913BF2CC0}" dt="2025-10-11T13:07:59.235" v="186" actId="1076"/>
          <ac:picMkLst>
            <pc:docMk/>
            <pc:sldMk cId="0" sldId="303"/>
            <ac:picMk id="52" creationId="{A6EF8581-5500-A010-C86D-A416E144A694}"/>
          </ac:picMkLst>
        </pc:picChg>
        <pc:picChg chg="mod">
          <ac:chgData name="Aaron Rendell" userId="f27b094e-8669-4d60-ad27-0d6d2af67856" providerId="ADAL" clId="{2BB4FE60-7229-4C74-8123-17E913BF2CC0}" dt="2025-10-11T13:06:58.715" v="164" actId="1076"/>
          <ac:picMkLst>
            <pc:docMk/>
            <pc:sldMk cId="0" sldId="303"/>
            <ac:picMk id="53" creationId="{92F44C39-2C4D-BDB0-716E-FCFAF3414340}"/>
          </ac:picMkLst>
        </pc:picChg>
        <pc:picChg chg="add mod">
          <ac:chgData name="Aaron Rendell" userId="f27b094e-8669-4d60-ad27-0d6d2af67856" providerId="ADAL" clId="{2BB4FE60-7229-4C74-8123-17E913BF2CC0}" dt="2025-10-11T13:07:57.079" v="185" actId="1076"/>
          <ac:picMkLst>
            <pc:docMk/>
            <pc:sldMk cId="0" sldId="303"/>
            <ac:picMk id="66" creationId="{6D79F296-EF43-9F70-69AE-899A836518EC}"/>
          </ac:picMkLst>
        </pc:picChg>
        <pc:picChg chg="add mod">
          <ac:chgData name="Aaron Rendell" userId="f27b094e-8669-4d60-ad27-0d6d2af67856" providerId="ADAL" clId="{2BB4FE60-7229-4C74-8123-17E913BF2CC0}" dt="2025-10-11T13:08:06.974" v="190" actId="1076"/>
          <ac:picMkLst>
            <pc:docMk/>
            <pc:sldMk cId="0" sldId="303"/>
            <ac:picMk id="1026" creationId="{358D0E93-999E-758D-2481-D49E63733DAD}"/>
          </ac:picMkLst>
        </pc:picChg>
      </pc:sldChg>
      <pc:sldMasterChg chg="modSldLayout">
        <pc:chgData name="Aaron Rendell" userId="f27b094e-8669-4d60-ad27-0d6d2af67856" providerId="ADAL" clId="{2BB4FE60-7229-4C74-8123-17E913BF2CC0}" dt="2025-10-11T13:10:36.444" v="214" actId="478"/>
        <pc:sldMasterMkLst>
          <pc:docMk/>
          <pc:sldMasterMk cId="2020574204" sldId="2147483648"/>
        </pc:sldMasterMkLst>
        <pc:sldLayoutChg chg="addSp delSp modSp mod">
          <pc:chgData name="Aaron Rendell" userId="f27b094e-8669-4d60-ad27-0d6d2af67856" providerId="ADAL" clId="{2BB4FE60-7229-4C74-8123-17E913BF2CC0}" dt="2025-10-11T13:10:36.444" v="214" actId="478"/>
          <pc:sldLayoutMkLst>
            <pc:docMk/>
            <pc:sldMasterMk cId="2020574204" sldId="2147483648"/>
            <pc:sldLayoutMk cId="3147334202" sldId="2147483665"/>
          </pc:sldLayoutMkLst>
        </pc:sldLayoutChg>
      </pc:sldMasterChg>
      <pc:sldMasterChg chg="modSldLayout">
        <pc:chgData name="Aaron Rendell" userId="f27b094e-8669-4d60-ad27-0d6d2af67856" providerId="ADAL" clId="{2BB4FE60-7229-4C74-8123-17E913BF2CC0}" dt="2025-10-11T10:48:07.895" v="5" actId="207"/>
        <pc:sldMasterMkLst>
          <pc:docMk/>
          <pc:sldMasterMk cId="3589580110" sldId="2147483678"/>
        </pc:sldMasterMkLst>
        <pc:sldLayoutChg chg="addSp delSp modSp mod">
          <pc:chgData name="Aaron Rendell" userId="f27b094e-8669-4d60-ad27-0d6d2af67856" providerId="ADAL" clId="{2BB4FE60-7229-4C74-8123-17E913BF2CC0}" dt="2025-10-11T10:48:07.895" v="5" actId="207"/>
          <pc:sldLayoutMkLst>
            <pc:docMk/>
            <pc:sldMasterMk cId="3589580110" sldId="2147483678"/>
            <pc:sldLayoutMk cId="65439216" sldId="2147483683"/>
          </pc:sldLayoutMkLst>
          <pc:spChg chg="add mod">
            <ac:chgData name="Aaron Rendell" userId="f27b094e-8669-4d60-ad27-0d6d2af67856" providerId="ADAL" clId="{2BB4FE60-7229-4C74-8123-17E913BF2CC0}" dt="2025-10-11T10:48:01.376" v="4" actId="207"/>
            <ac:spMkLst>
              <pc:docMk/>
              <pc:sldMasterMk cId="3589580110" sldId="2147483678"/>
              <pc:sldLayoutMk cId="65439216" sldId="2147483683"/>
              <ac:spMk id="6" creationId="{B5B1D4CD-C3BF-D5DB-954B-CE2AF31AB411}"/>
            </ac:spMkLst>
          </pc:spChg>
          <pc:spChg chg="add mod">
            <ac:chgData name="Aaron Rendell" userId="f27b094e-8669-4d60-ad27-0d6d2af67856" providerId="ADAL" clId="{2BB4FE60-7229-4C74-8123-17E913BF2CC0}" dt="2025-10-11T10:48:07.895" v="5" actId="207"/>
            <ac:spMkLst>
              <pc:docMk/>
              <pc:sldMasterMk cId="3589580110" sldId="2147483678"/>
              <pc:sldLayoutMk cId="65439216" sldId="2147483683"/>
              <ac:spMk id="7" creationId="{3CDDCDEE-EAA0-A9AD-B04F-FF6B72E58CF4}"/>
            </ac:spMkLst>
          </pc:spChg>
          <pc:picChg chg="add mod">
            <ac:chgData name="Aaron Rendell" userId="f27b094e-8669-4d60-ad27-0d6d2af67856" providerId="ADAL" clId="{2BB4FE60-7229-4C74-8123-17E913BF2CC0}" dt="2025-10-11T10:47:40.069" v="3"/>
            <ac:picMkLst>
              <pc:docMk/>
              <pc:sldMasterMk cId="3589580110" sldId="2147483678"/>
              <pc:sldLayoutMk cId="65439216" sldId="2147483683"/>
              <ac:picMk id="5" creationId="{2C75D237-F03B-ADE7-CB82-DD3A4178AF9F}"/>
            </ac:picMkLst>
          </pc:pic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27E3961-5613-64C6-63C3-6085D0CDAE5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6D1F08-FF42-95F6-3130-AE63E56048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D26A2A-0A96-0647-84E5-C82F2EFD9474}" type="datetimeFigureOut">
              <a:rPr lang="en-US" smtClean="0"/>
              <a:t>10/17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D5B35B-A046-EC3C-A80E-3D9D12C149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02DDE3-703C-8B4C-9506-EC0A39AACDD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8DC1D1-B6C2-C644-8BF1-C34DBFFE1C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4793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B40C3B-E28A-4854-8EDA-E7F8F6F6FFEF}" type="datetimeFigureOut">
              <a:rPr lang="zh-CN" altLang="en-US" smtClean="0"/>
              <a:t>2025/10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7105BD-6D6F-49DB-9DE4-D4A6452D7E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6651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microsoft-copilot-studio/guidance/generative-mode-guidance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learn.microsoft.com/en-us/microsoft-copilot-studio/guidance/optimize-prompts-custom-instructions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 SLI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7105BD-6D6F-49DB-9DE4-D4A6452D7E5F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80407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3FF24A-9E50-C714-2F7F-5F893C46A5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2B048B-B66F-A7B7-72E9-951F6F523A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E412CC-A58C-A677-67A5-6D12576BDF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other important piece of the puzzle when building Agents is </a:t>
            </a:r>
            <a:r>
              <a:rPr lang="en-US" b="1" dirty="0"/>
              <a:t>choosing the AI model to use. </a:t>
            </a:r>
            <a:br>
              <a:rPr lang="en-US" dirty="0"/>
            </a:br>
            <a:r>
              <a:rPr lang="en-US" dirty="0"/>
              <a:t>Different models are better at different kinds of work — some excel at speed, some at deep reasoning, others at summarization or structured outputs.</a:t>
            </a:r>
            <a:br>
              <a:rPr lang="en-US" dirty="0"/>
            </a:br>
            <a:r>
              <a:rPr lang="en-US" dirty="0"/>
              <a:t>One of the big benefits of Copilot Studio is that it doesn’t lock you into a single model — you get the flexibility to pick the right one for the job</a:t>
            </a:r>
          </a:p>
          <a:p>
            <a:endParaRPr lang="en-US" dirty="0"/>
          </a:p>
          <a:p>
            <a:r>
              <a:rPr lang="en-US" dirty="0"/>
              <a:t>For most scenarios, Alex can rely on </a:t>
            </a:r>
            <a:r>
              <a:rPr lang="en-US" b="1" dirty="0"/>
              <a:t>managed models</a:t>
            </a:r>
            <a:r>
              <a:rPr lang="en-US" dirty="0"/>
              <a:t> — best-in-class AI models that Microsoft curates, hosts, and keeps updated.</a:t>
            </a:r>
          </a:p>
          <a:p>
            <a:r>
              <a:rPr lang="en-US" dirty="0"/>
              <a:t>There’s no GPU infrastructure to manage.</a:t>
            </a:r>
          </a:p>
          <a:p>
            <a:r>
              <a:rPr lang="en-US" dirty="0"/>
              <a:t>No model update headaches.</a:t>
            </a:r>
          </a:p>
          <a:p>
            <a:r>
              <a:rPr lang="en-US" dirty="0"/>
              <a:t>Responsible AI controls are applied automatically.</a:t>
            </a:r>
            <a:br>
              <a:rPr lang="en-US" dirty="0"/>
            </a:br>
            <a:r>
              <a:rPr lang="en-US" dirty="0"/>
              <a:t>This means Alex gets reliable, enterprise-ready AI with zero extra overhead — perfect for routine supply chain tasks like summarizing supplier performance or drafting customer updates.</a:t>
            </a:r>
          </a:p>
          <a:p>
            <a:endParaRPr lang="en-US" dirty="0"/>
          </a:p>
          <a:p>
            <a:r>
              <a:rPr lang="en-US" dirty="0"/>
              <a:t>But sometimes </a:t>
            </a:r>
            <a:r>
              <a:rPr lang="en-US" dirty="0" err="1"/>
              <a:t>Zava</a:t>
            </a:r>
            <a:r>
              <a:rPr lang="en-US" dirty="0"/>
              <a:t> has unique needs — maybe a specialized forecasting model that the data science team has already fine-tuned on years of shipping data.</a:t>
            </a:r>
          </a:p>
          <a:p>
            <a:endParaRPr lang="en-US" dirty="0"/>
          </a:p>
          <a:p>
            <a:endParaRPr lang="en-US" sz="882" b="0" i="0" u="none" strike="noStrike" kern="1200" dirty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+mn-cs"/>
            </a:endParaRP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Copilot Studio offers flexible model choices across knowledge, tools, and prompt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You can select from managed models, best-in-class models curated for specific scenarios, or even bring your own models from the Azure AI Model Catalog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ere’s no need to manage your own GPU infrastructure or worry about model updates—Copilot Studio handles it for you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Responsible AI controls are applied by default, ensuring compliance and ethical use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With over 1,900 models available, including fine-tuned and scenario-specific options, you have the flexibility to tailor your agents for any business need.</a:t>
            </a:r>
          </a:p>
          <a:p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BD0B55-67BA-1077-4026-2E8D4F9094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21022A-C632-4098-849C-6073A0E6BE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29074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AC11C-CA4D-FB04-2DC8-74FD9FA5D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F87BEE-E701-4A08-F0CF-48097E9128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53C94F-667C-EACB-828C-3C1AAB961B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With Copilot Studio, Alex can </a:t>
            </a:r>
            <a:r>
              <a:rPr lang="en-US" b="1" dirty="0"/>
              <a:t>bring that custom model in</a:t>
            </a:r>
            <a:r>
              <a:rPr lang="en-US" dirty="0"/>
              <a:t> from Azure AI Foundry and use it right alongside the managed models.</a:t>
            </a:r>
            <a:br>
              <a:rPr lang="en-US" dirty="0"/>
            </a:br>
            <a:r>
              <a:rPr lang="en-US" dirty="0"/>
              <a:t>That means </a:t>
            </a:r>
            <a:r>
              <a:rPr lang="en-US" dirty="0" err="1"/>
              <a:t>Zava</a:t>
            </a:r>
            <a:r>
              <a:rPr lang="en-US" dirty="0"/>
              <a:t> gets the best of both worlds:</a:t>
            </a:r>
          </a:p>
          <a:p>
            <a:r>
              <a:rPr lang="en-US" dirty="0"/>
              <a:t>Managed models for reliability and ease.</a:t>
            </a:r>
          </a:p>
          <a:p>
            <a:r>
              <a:rPr lang="en-US" dirty="0"/>
              <a:t>Custom models when they want a competitive edge or highly tailored reasoning.</a:t>
            </a:r>
            <a:br>
              <a:rPr lang="en-US" dirty="0"/>
            </a:br>
            <a:r>
              <a:rPr lang="en-US" dirty="0"/>
              <a:t>And Alex doesn’t need to switch platforms — all of this happens inside Copilot Studio.</a:t>
            </a:r>
          </a:p>
          <a:p>
            <a:endParaRPr lang="en-US" sz="882" b="0" i="0" u="none" strike="noStrike" kern="1200" dirty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+mn-cs"/>
            </a:endParaRPr>
          </a:p>
          <a:p>
            <a:endParaRPr lang="en-US" sz="882" b="0" i="0" u="none" strike="noStrike" kern="1200" dirty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+mn-cs"/>
            </a:endParaRP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Finally, let’s talk about bringing your own model into Copilot Studio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With Azure AI Foundry Models, you can unlock smarter, faster, and more efficient solutions tailored to your busines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You have access to a wide range of models—O1, LLAMA, Phi-4, Claude, Gemini, GPT 4.1, DeepSeek, Mistral 3B, and more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is supports innovation, improves efficiency and quality, and accelerates your timeline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By combining your own models with Copilot Studio’s orchestration and prompt capabilities, you can transform your business processes and drive real impact.</a:t>
            </a:r>
          </a:p>
          <a:p>
            <a:endParaRPr lang="en-US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8B5A05E5-F96D-CCBB-2546-4A27391D778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93622E-12A4-BA44-4EE6-DCEA3B4688B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F61E82-8DDE-8209-6088-D90429EF386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7/2025 13: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4D15C1-A7F0-8656-F37C-DF7F83846D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63973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D22407-DA84-5927-F1E6-5D424F99F6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45D5BE-51DC-D7B4-F342-CB8564BEC2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51BE486-1CD1-1091-F8DB-F320D81371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Let’s dive into analytics and insights—now generally available in Copilot Studio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You can gain visibility into how your autonomous agents perform using key performance indicators (KPIs)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rack total runs, breakdowns by successful and failed runs, and trend analysis over time to spot areas needing attention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Analyze average run duration and consumption metrics, including detailed billing and message consumption report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ese insights help you understand costs, usage patterns, and opportunities for optimization.</a:t>
            </a:r>
          </a:p>
          <a:p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55C452-F133-412A-FD72-E05F749A51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DC9712-05E4-4D02-B545-0DE9625B2F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71840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0AE66B-7A38-E0A2-D795-13E7FC032E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3812C9-4D16-43E5-B8E1-42E1BD9991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797932-BEE7-AD4D-D63B-188A2F2070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Analytics also provide a deep look into agent health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Review agent run trends over time and analyze duration, split by successful and failed run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Duration trends help you identify bottlenecks or inefficiencies in your workflow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With this data, you can proactively address issues and ensure your agents are running smoothly and efficiently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1908B7-538E-A375-901D-D990D2B6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DC9712-05E4-4D02-B545-0DE9625B2F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78147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4C5CD0-D7F8-9C9C-1E5D-2855BE1E97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5F5766-2B42-46DF-0495-23F665D68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3094E9-D4D4-1208-28D0-DDAD577C22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Copilot Studio’s analytics let you drill down into trigger and tool usage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See how often agents are run by different triggers and the success rate for each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Analyze which tools are being used, how often, and how their usage changes over time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is level of detail helps you fine-tune your agent ecosystem, allocate resources, and maximize the value of your automation investments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25A94A-30AA-9F16-E2E1-5D6BA34291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DC9712-05E4-4D02-B545-0DE9625B2F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5540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 SLIDE – “Please use the QR code to provide session feedback.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7105BD-6D6F-49DB-9DE4-D4A6452D7E5F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53823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52E65E-9288-D00F-478A-B09EFDF0CF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20BCB8-AF4A-931E-DA23-B1510BD229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9506FD-BF96-4A14-6D04-C1ED950A34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pilot Studio is the platform that makes these AI agents a reality for organizations like </a:t>
            </a:r>
            <a:r>
              <a:rPr lang="en-US" dirty="0" err="1"/>
              <a:t>Zava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t’s the single place where Alex can:</a:t>
            </a:r>
          </a:p>
          <a:p>
            <a:r>
              <a:rPr lang="en-US" dirty="0"/>
              <a:t>Meet users where they already work — inside Microsoft 365 apps.</a:t>
            </a:r>
          </a:p>
          <a:p>
            <a:r>
              <a:rPr lang="en-US" dirty="0"/>
              <a:t>Access all the necessary data in one view.</a:t>
            </a:r>
          </a:p>
          <a:p>
            <a:r>
              <a:rPr lang="en-US" dirty="0"/>
              <a:t>Automate workflows across systems.</a:t>
            </a:r>
          </a:p>
          <a:p>
            <a:r>
              <a:rPr lang="en-US" dirty="0"/>
              <a:t>Integrate with external apps and data sources.</a:t>
            </a:r>
            <a:br>
              <a:rPr lang="en-US" dirty="0"/>
            </a:br>
            <a:r>
              <a:rPr lang="en-US" dirty="0"/>
              <a:t>And it’s built to extend Microsoft 365 Copilot — so instead of just answering questions, it can actually take action and deliver outcom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US" dirty="0"/>
            </a:br>
            <a:r>
              <a:rPr lang="en-US" dirty="0"/>
              <a:t>Copilot Studio is your central tool for building agents and extending Microsoft 365 </a:t>
            </a:r>
            <a:r>
              <a:rPr lang="en-US" dirty="0" err="1"/>
              <a:t>Copilot.It</a:t>
            </a:r>
            <a:r>
              <a:rPr lang="en-US" dirty="0"/>
              <a:t> lets you meet users where they already work—integrating with Microsoft 365, automating workflows, and connecting to external apps and dat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You can access everything in one place, making it easy to build, test, and deploy agen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pilot Studio is designed for both business process transformation and productivity enhancement for information worke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t also works seamlessly with Azure Foundry, enabling advanced scenarios and integrations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4EC72B-DE5B-E3FC-7783-306075BBBD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1B71-AA82-464B-A393-9479827C6D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69800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4C3FE-BEEF-5A74-33A4-DDA7C4C810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EA47E1-F9FB-5372-4420-2AC36E6DEF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A73C95-892A-98CA-2FF8-DE2C2283D3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 everyone building these agents is a developer — and that’s okay.</a:t>
            </a:r>
            <a:br>
              <a:rPr lang="en-US" dirty="0"/>
            </a:br>
            <a:r>
              <a:rPr lang="en-US" dirty="0"/>
              <a:t>Copilot Studio supports the full spectrum of makers:</a:t>
            </a:r>
          </a:p>
          <a:p>
            <a:r>
              <a:rPr lang="en-US" dirty="0"/>
              <a:t>For end users, the Agent Builder provides a simple, guided way to create agents without code.</a:t>
            </a:r>
          </a:p>
          <a:p>
            <a:r>
              <a:rPr lang="en-US" dirty="0"/>
              <a:t>For makers, Copilot Studio offers a low-code experience with more customization.</a:t>
            </a:r>
          </a:p>
          <a:p>
            <a:r>
              <a:rPr lang="en-US" dirty="0"/>
              <a:t>For developers, it integrates with Azure AI Foundry and Visual Studio for deep, pro-code extensibility.</a:t>
            </a:r>
            <a:br>
              <a:rPr lang="en-US" dirty="0"/>
            </a:br>
            <a:r>
              <a:rPr lang="en-US" dirty="0"/>
              <a:t>This means Alex can start with simple automations and grow into more complex, multi-system agents as needs evolve — all in one connected environment.</a:t>
            </a:r>
          </a:p>
          <a:p>
            <a:endParaRPr lang="en-US" sz="882" b="0" i="0" u="none" strike="noStrike" kern="1200" dirty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+mn-cs"/>
            </a:endParaRPr>
          </a:p>
          <a:p>
            <a:endParaRPr lang="en-US" sz="882" b="0" i="0" u="none" strike="noStrike" kern="1200" dirty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+mn-cs"/>
            </a:endParaRP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Copilot Studio offers a range of tools for agent creation—whether you’re a no-code maker or a pro-code developer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You can build agents visually, use templates, or dive into advanced coding with Azure AI Foundry and Visual Studio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ere are options for end users, agent builders, and developers alike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Key features include data protection, agent sharing, usage limits, and robust reporting and cost management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is flexibility ensures that anyone in your organization can contribute to building and deploying intelligent agents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166B98-4ABC-CFCB-8873-436F377167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DBA25-EEB1-46C0-8126-D5B74A701F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4112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5B2C07-553D-13BE-7BBE-85C7474468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2BC68D-ACBF-9AA4-5784-7D68353515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1B32CC-EBF8-AA14-0222-904E6AF35D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So, how do all these components work together in practice?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e agent lifecycle starts with a </a:t>
            </a:r>
            <a:r>
              <a:rPr lang="en-US" sz="882" b="1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rigger</a:t>
            </a:r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—this could be a user action, a scheduled event, or a change in data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ext, the agent follows </a:t>
            </a:r>
            <a:r>
              <a:rPr lang="en-US" sz="882" b="1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instructions</a:t>
            </a:r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—these define what the agent should do and how it should behave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e agent then creates a </a:t>
            </a:r>
            <a:r>
              <a:rPr lang="en-US" sz="882" b="1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plan</a:t>
            </a:r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—deciding which actions to take, which data to use, and how to achieve the desired outcome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Finally, the agent delivers an </a:t>
            </a:r>
            <a:r>
              <a:rPr lang="en-US" sz="882" b="1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outcome</a:t>
            </a:r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—completing the task, generating a response, or orchestrating further action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You can design agents using natural language, pre-built templates, visual canvases, or code—whatever fits your workflow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Agents can connect to a wide range of data sources and applications, from Microsoft Graph and Dataverse to external systems and business data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e key is orchestration—bringing together triggers, instructions, planning, and execution for seamless automation.</a:t>
            </a:r>
          </a:p>
          <a:p>
            <a:endParaRPr lang="en-US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5569ED9-CBEC-CE4A-62E3-2297C4BC7DD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E93178-0E0C-819D-8E17-D5E114B26E4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473E368-8C63-BE1C-C22F-68C3BBB4A17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7/2025 13: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BC2117-1502-8CE3-6808-CDAE35E10B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21599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B27EE-89C6-C716-58E8-2F5DEC5204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0625EF-D3B3-E2A7-A57B-E9B62968F1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EAE0AEF-0642-6A09-C5BF-6FD1376890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Instructions play a crucial role in shaping how generative autonomous agents behave and respond.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Instructions guide the agent in:</a:t>
            </a:r>
          </a:p>
          <a:p>
            <a:r>
              <a:rPr lang="en-US" sz="1200" b="1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Determining actions or knowledge sources</a:t>
            </a:r>
            <a:r>
              <a:rPr lang="en-US" sz="12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 to use in response to a user query or autonomous trigger.</a:t>
            </a:r>
          </a:p>
          <a:p>
            <a:r>
              <a:rPr lang="en-US" sz="1200" b="1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Filling inputs</a:t>
            </a:r>
            <a:r>
              <a:rPr lang="en-US" sz="12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 for actions based on the available context.</a:t>
            </a:r>
          </a:p>
          <a:p>
            <a:r>
              <a:rPr lang="en-US" sz="1200" b="1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Generating responses</a:t>
            </a:r>
            <a:r>
              <a:rPr lang="en-US" sz="12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 that align with the desired tone, format, and content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3"/>
              </a:rPr>
              <a:t>[1]</a:t>
            </a:r>
            <a:r>
              <a:rPr lang="en-US" sz="12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.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n-US" sz="1200" b="1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You instructions should list the task of the agent and be clear and contextual.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Instructions should also specifically call out the </a:t>
            </a:r>
            <a:r>
              <a:rPr lang="en-US" sz="1200" b="1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tools and knowledge sources it should use. </a:t>
            </a:r>
          </a:p>
          <a:p>
            <a:br>
              <a:rPr lang="en-US" sz="1200" b="1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</a:br>
            <a:r>
              <a:rPr lang="en-US" sz="1200" b="1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References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[1]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3"/>
              </a:rPr>
              <a:t>Guidance for using instructions in generative mode - Microsoft Copilot ...</a:t>
            </a:r>
            <a:endParaRPr lang="en-US" sz="1200" b="0" i="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[2]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ea typeface="+mn-ea"/>
                <a:cs typeface="+mn-cs"/>
                <a:hlinkClick r:id="rId4"/>
              </a:rPr>
              <a:t>Optimize prompts with custom instructions - Microsoft Copilot Studio</a:t>
            </a:r>
            <a:endParaRPr lang="en-US" sz="1200" b="0" i="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261A97-3BE8-A899-2A6B-A4F1017C99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46D37-E312-46C7-802E-183B36288E8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2368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EBFE9B-09EF-F211-86D6-3E1E29EA47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E9DB25-5901-3182-DA80-60147F0376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4AA993-1322-8788-341D-D9A7188718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ep Reasoning uses the OpenAI o1 model to allow your agents to follow a step-by-step approach for tasks.  This is best explained by a demo. Let’s take a look at the same agent with and without deep reasoning enabled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90FBB8-EF94-2325-148D-1B5220BABD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DC9712-05E4-4D02-B545-0DE9625B2F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6580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E992D7-4E30-9C00-E3BE-DADFE9DC16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E97812-F96A-0568-AC43-D4ADF20CD7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854A62-5C34-69CB-6755-30823F308A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Building on that, let’s talk about multi-agent orchestration—a key capability for advanced automation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With multi-agent orchestration, you can coordinate intelligent agents to deliver reliable, scalable outcome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is means building and scaling with a modular, composable agent architecture, where each agent specializes in a specific function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Generative orchestration allows agents to collaborate, share information, and coordinate actions across teams and department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You also gain visibility with built-in debugging and traceability, making it easier to monitor, troubleshoot, and optimize your agent ecosystem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e result is a robust, flexible automation platform that can handle even the most complex business scenarios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1724CF-75D7-B6F4-8083-17EA7E1CA3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DC9712-05E4-4D02-B545-0DE9625B2F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3411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4FB026-91F2-AC7A-D409-A1573B048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25484C-F84E-3876-A115-A8043A6E65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619A164-BA25-8767-90F9-A59A67F5EB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o address these integration challenges, Microsoft is introducing the Model Context Protocol—a universal interface for AI models.</a:t>
            </a:r>
          </a:p>
          <a:p>
            <a:endParaRPr lang="en-US" sz="882" b="0" i="0" u="none" strike="noStrike" kern="1200" dirty="0">
              <a:solidFill>
                <a:schemeClr val="tx1"/>
              </a:solidFill>
              <a:effectLst/>
              <a:latin typeface="Segoe UI" panose="020B0502040204020203" pitchFamily="34" charset="0"/>
              <a:ea typeface="+mn-ea"/>
              <a:cs typeface="+mn-cs"/>
            </a:endParaRP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is protocol allows AI models to interact with external tools, data sources, and user environments in a consistent and scalable way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With standardized context, seamless integration with Copilot Studio, and improved developer efficiency, you can build more powerful and flexible agent solution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e protocol also supports governance, monitoring, and extensibility, making it easier to manage and evolve your AI ecosystem as your needs change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26E357-EF5C-EDEF-A853-623BB1DEA0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DC9712-05E4-4D02-B545-0DE9625B2F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5245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5A3422-D856-1113-5F3A-14E29627FF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A25D19-33B4-70D5-787B-56EAE97290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33FAA2-FFBF-B481-A707-DBBA6846D9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o address the need for determinism, Copilot Studio introduces Agent Flow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Agent Flows give you increased control over your agentic outcomes by defining fixed automation pathways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ese flows are generally available and are designed to execute repetitive tasks quickly by following a predefined sequence—no reasoning required for every step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This approach helps you accomplish objectives faster and more reliably, especially for tasks that don’t require dynamic decision-making.</a:t>
            </a:r>
          </a:p>
          <a:p>
            <a:r>
              <a:rPr lang="en-US" sz="882" b="0" i="0" u="none" strike="noStrike" kern="1200" dirty="0">
                <a:solidFill>
                  <a:schemeClr val="tx1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Advanced features like multi-stage and conditional approvals make it easy to manage even complex workflows, such as multi-level approvals in finance or HR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511ACE-3D57-6F31-C9BB-6E5AF448E6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DC9712-05E4-4D02-B545-0DE9625B2F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15482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jp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jp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7.jpg"/><Relationship Id="rId4" Type="http://schemas.openxmlformats.org/officeDocument/2006/relationships/image" Target="../media/image26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g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jp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 and logo">
    <p:bg>
      <p:bgPr>
        <a:solidFill>
          <a:schemeClr val="accent3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phic 21">
            <a:extLst>
              <a:ext uri="{FF2B5EF4-FFF2-40B4-BE49-F238E27FC236}">
                <a16:creationId xmlns:a16="http://schemas.microsoft.com/office/drawing/2014/main" id="{38062A02-43F2-3BC4-405C-ECB9E8CFB3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996" r="14116" b="23204"/>
          <a:stretch/>
        </p:blipFill>
        <p:spPr>
          <a:xfrm rot="16200000">
            <a:off x="5884579" y="428650"/>
            <a:ext cx="7559040" cy="593974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EC2501B-DEA6-190E-3633-E32F635B7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764" y="1986926"/>
            <a:ext cx="5257793" cy="2057441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cxnSp>
        <p:nvCxnSpPr>
          <p:cNvPr id="24" name="Straight Connector 2">
            <a:extLst>
              <a:ext uri="{FF2B5EF4-FFF2-40B4-BE49-F238E27FC236}">
                <a16:creationId xmlns:a16="http://schemas.microsoft.com/office/drawing/2014/main" id="{F1FCCFDB-D985-4322-AC87-F69214893708}"/>
              </a:ext>
            </a:extLst>
          </p:cNvPr>
          <p:cNvCxnSpPr/>
          <p:nvPr userDrawn="1"/>
        </p:nvCxnSpPr>
        <p:spPr>
          <a:xfrm>
            <a:off x="1509005" y="4172084"/>
            <a:ext cx="0" cy="760288"/>
          </a:xfrm>
          <a:prstGeom prst="line">
            <a:avLst/>
          </a:prstGeom>
          <a:noFill/>
          <a:ln w="19050" cap="flat" cmpd="sng" algn="ctr">
            <a:solidFill>
              <a:srgbClr val="00E0D0"/>
            </a:solidFill>
            <a:prstDash val="solid"/>
            <a:miter lim="800000"/>
          </a:ln>
          <a:effectLst/>
        </p:spPr>
      </p:cxnSp>
      <p:sp>
        <p:nvSpPr>
          <p:cNvPr id="27" name="Content placeholder 47" descr="Click icon to add picture">
            <a:extLst>
              <a:ext uri="{FF2B5EF4-FFF2-40B4-BE49-F238E27FC236}">
                <a16:creationId xmlns:a16="http://schemas.microsoft.com/office/drawing/2014/main" id="{EA8265B5-83C5-4AE9-88AB-3F2443B57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01365" y="4172084"/>
            <a:ext cx="5092859" cy="760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/>
              <a:t>Click to edit Master title style </a:t>
            </a:r>
          </a:p>
        </p:txBody>
      </p:sp>
      <p:sp>
        <p:nvSpPr>
          <p:cNvPr id="47" name="Content placeholder 47">
            <a:extLst>
              <a:ext uri="{FF2B5EF4-FFF2-40B4-BE49-F238E27FC236}">
                <a16:creationId xmlns:a16="http://schemas.microsoft.com/office/drawing/2014/main" id="{0FFAAB58-ABE4-41AC-B94E-432936CE0301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6762877" y="1025036"/>
            <a:ext cx="4405503" cy="5066346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ln w="41275">
            <a:noFill/>
            <a:prstDash val="dash"/>
          </a:ln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en-US" altLang="zh-CN" sz="1050" noProof="0" dirty="0"/>
            </a:lvl1pPr>
          </a:lstStyle>
          <a:p>
            <a:pPr marL="0" lvl="0" indent="0">
              <a:buFontTx/>
              <a:buNone/>
            </a:pPr>
            <a:r>
              <a:rPr lang="en-GB" altLang="zh-CN" noProof="0"/>
              <a:t>Click icon to add picture</a:t>
            </a:r>
            <a:endParaRPr lang="en-US" altLang="zh-CN" noProof="0" dirty="0"/>
          </a:p>
        </p:txBody>
      </p:sp>
      <p:sp>
        <p:nvSpPr>
          <p:cNvPr id="9" name="Freeform: Shape 11">
            <a:extLst>
              <a:ext uri="{FF2B5EF4-FFF2-40B4-BE49-F238E27FC236}">
                <a16:creationId xmlns:a16="http://schemas.microsoft.com/office/drawing/2014/main" id="{9ECA281C-F2CB-AE9D-DCD6-F94D3FEE2E67}"/>
              </a:ext>
            </a:extLst>
          </p:cNvPr>
          <p:cNvSpPr/>
          <p:nvPr userDrawn="1"/>
        </p:nvSpPr>
        <p:spPr>
          <a:xfrm>
            <a:off x="7441324" y="5568778"/>
            <a:ext cx="829927" cy="949454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23" name="Freeform: Shape 11">
            <a:extLst>
              <a:ext uri="{FF2B5EF4-FFF2-40B4-BE49-F238E27FC236}">
                <a16:creationId xmlns:a16="http://schemas.microsoft.com/office/drawing/2014/main" id="{8635CBF7-AEF1-98F3-395E-5FBF0D2C1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58497" y="384518"/>
            <a:ext cx="1637958" cy="187385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rgbClr val="4BBB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6649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>
          <p15:clr>
            <a:srgbClr val="FBAE40"/>
          </p15:clr>
        </p15:guide>
        <p15:guide id="2" orient="horz" pos="52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4">
            <a:extLst>
              <a:ext uri="{FF2B5EF4-FFF2-40B4-BE49-F238E27FC236}">
                <a16:creationId xmlns:a16="http://schemas.microsoft.com/office/drawing/2014/main" id="{05751864-B11A-0286-13EA-2AC2A2C8D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709" y="955342"/>
            <a:ext cx="10889796" cy="11851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Table placeholder">
            <a:extLst>
              <a:ext uri="{FF2B5EF4-FFF2-40B4-BE49-F238E27FC236}">
                <a16:creationId xmlns:a16="http://schemas.microsoft.com/office/drawing/2014/main" id="{CFC5FF09-DE50-4155-81A0-5DD9B700F205}"/>
              </a:ext>
            </a:extLst>
          </p:cNvPr>
          <p:cNvSpPr>
            <a:spLocks noGrp="1"/>
          </p:cNvSpPr>
          <p:nvPr>
            <p:ph type="tbl" sz="quarter" idx="27" hasCustomPrompt="1"/>
          </p:nvPr>
        </p:nvSpPr>
        <p:spPr>
          <a:xfrm>
            <a:off x="581709" y="2310237"/>
            <a:ext cx="10889796" cy="43178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altLang="zh-CN" dirty="0"/>
              <a:t>Click to edit master text style</a:t>
            </a:r>
            <a:endParaRPr lang="zh-CN" altLang="en-US" dirty="0"/>
          </a:p>
        </p:txBody>
      </p:sp>
      <p:sp>
        <p:nvSpPr>
          <p:cNvPr id="9" name="Freeform: Shape 5">
            <a:extLst>
              <a:ext uri="{FF2B5EF4-FFF2-40B4-BE49-F238E27FC236}">
                <a16:creationId xmlns:a16="http://schemas.microsoft.com/office/drawing/2014/main" id="{3F619E6B-153E-B522-47EB-4104C405736C}"/>
              </a:ext>
            </a:extLst>
          </p:cNvPr>
          <p:cNvSpPr/>
          <p:nvPr userDrawn="1"/>
        </p:nvSpPr>
        <p:spPr>
          <a:xfrm>
            <a:off x="10551278" y="4665388"/>
            <a:ext cx="603952" cy="68174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87A7B3D-E004-6D6A-5979-8F1BADBC9237}"/>
              </a:ext>
            </a:extLst>
          </p:cNvPr>
          <p:cNvSpPr/>
          <p:nvPr userDrawn="1"/>
        </p:nvSpPr>
        <p:spPr>
          <a:xfrm>
            <a:off x="10524774" y="5146146"/>
            <a:ext cx="1667226" cy="1711855"/>
          </a:xfrm>
          <a:custGeom>
            <a:avLst/>
            <a:gdLst>
              <a:gd name="connsiteX0" fmla="*/ 998834 w 1667226"/>
              <a:gd name="connsiteY0" fmla="*/ 0 h 1711855"/>
              <a:gd name="connsiteX1" fmla="*/ 1667226 w 1667226"/>
              <a:gd name="connsiteY1" fmla="*/ 373790 h 1711855"/>
              <a:gd name="connsiteX2" fmla="*/ 1667226 w 1667226"/>
              <a:gd name="connsiteY2" fmla="*/ 1711855 h 1711855"/>
              <a:gd name="connsiteX3" fmla="*/ 48502 w 1667226"/>
              <a:gd name="connsiteY3" fmla="*/ 1711855 h 1711855"/>
              <a:gd name="connsiteX4" fmla="*/ 0 w 1667226"/>
              <a:gd name="connsiteY4" fmla="*/ 1684915 h 1711855"/>
              <a:gd name="connsiteX5" fmla="*/ 0 w 1667226"/>
              <a:gd name="connsiteY5" fmla="*/ 564300 h 1711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7226" h="1711855">
                <a:moveTo>
                  <a:pt x="998834" y="0"/>
                </a:moveTo>
                <a:lnTo>
                  <a:pt x="1667226" y="373790"/>
                </a:lnTo>
                <a:lnTo>
                  <a:pt x="1667226" y="1711855"/>
                </a:lnTo>
                <a:lnTo>
                  <a:pt x="48502" y="1711855"/>
                </a:lnTo>
                <a:lnTo>
                  <a:pt x="0" y="1684915"/>
                </a:lnTo>
                <a:lnTo>
                  <a:pt x="0" y="564300"/>
                </a:lnTo>
                <a:close/>
              </a:path>
            </a:pathLst>
          </a:cu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3" name="Freeform: Shape 11">
            <a:extLst>
              <a:ext uri="{FF2B5EF4-FFF2-40B4-BE49-F238E27FC236}">
                <a16:creationId xmlns:a16="http://schemas.microsoft.com/office/drawing/2014/main" id="{A4CA3A93-BDBF-112D-54A0-05BF6B06BCC1}"/>
              </a:ext>
            </a:extLst>
          </p:cNvPr>
          <p:cNvSpPr/>
          <p:nvPr userDrawn="1"/>
        </p:nvSpPr>
        <p:spPr>
          <a:xfrm>
            <a:off x="10177285" y="5347130"/>
            <a:ext cx="748554" cy="85636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1256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8BF58E95-E9E1-28E6-FB2F-DE80889223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9078" y="1856195"/>
            <a:ext cx="4669613" cy="1688906"/>
          </a:xfrm>
        </p:spPr>
        <p:txBody>
          <a:bodyPr anchor="b">
            <a:noAutofit/>
          </a:bodyPr>
          <a:lstStyle>
            <a:lvl1pPr>
              <a:defRPr sz="2700">
                <a:latin typeface="+mn-lt"/>
              </a:defRPr>
            </a:lvl1pPr>
          </a:lstStyle>
          <a:p>
            <a:r>
              <a:rPr lang="en-US" dirty="0"/>
              <a:t>Click to edit </a:t>
            </a:r>
            <a:r>
              <a:rPr lang="en-US" altLang="zh-CN" dirty="0"/>
              <a:t>Text</a:t>
            </a:r>
            <a:r>
              <a:rPr lang="zh-CN" altLang="en-US" dirty="0"/>
              <a:t> </a:t>
            </a:r>
            <a:r>
              <a:rPr lang="en-US" dirty="0"/>
              <a:t>style</a:t>
            </a:r>
          </a:p>
        </p:txBody>
      </p:sp>
      <p:sp>
        <p:nvSpPr>
          <p:cNvPr id="4" name="Freeform: Shape 5">
            <a:extLst>
              <a:ext uri="{FF2B5EF4-FFF2-40B4-BE49-F238E27FC236}">
                <a16:creationId xmlns:a16="http://schemas.microsoft.com/office/drawing/2014/main" id="{0CA4AA19-0D07-46AB-AC12-64054BBBB499}"/>
              </a:ext>
            </a:extLst>
          </p:cNvPr>
          <p:cNvSpPr/>
          <p:nvPr userDrawn="1"/>
        </p:nvSpPr>
        <p:spPr>
          <a:xfrm>
            <a:off x="3843559" y="722518"/>
            <a:ext cx="1244907" cy="140525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Freeform: Shape 6">
            <a:extLst>
              <a:ext uri="{FF2B5EF4-FFF2-40B4-BE49-F238E27FC236}">
                <a16:creationId xmlns:a16="http://schemas.microsoft.com/office/drawing/2014/main" id="{DF781D9E-0DF5-4DDA-84E6-35DFB054158C}"/>
              </a:ext>
            </a:extLst>
          </p:cNvPr>
          <p:cNvSpPr/>
          <p:nvPr userDrawn="1"/>
        </p:nvSpPr>
        <p:spPr>
          <a:xfrm>
            <a:off x="1223929" y="1436914"/>
            <a:ext cx="2857005" cy="326977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/>
          </a:p>
        </p:txBody>
      </p:sp>
      <p:sp>
        <p:nvSpPr>
          <p:cNvPr id="6" name="Freeform: Shape 7">
            <a:extLst>
              <a:ext uri="{FF2B5EF4-FFF2-40B4-BE49-F238E27FC236}">
                <a16:creationId xmlns:a16="http://schemas.microsoft.com/office/drawing/2014/main" id="{86BA1075-E23C-4BC9-8F67-B2E408F864D2}"/>
              </a:ext>
            </a:extLst>
          </p:cNvPr>
          <p:cNvSpPr/>
          <p:nvPr userDrawn="1"/>
        </p:nvSpPr>
        <p:spPr>
          <a:xfrm>
            <a:off x="758702" y="3457554"/>
            <a:ext cx="1208037" cy="138175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B2A4CA75-D17E-243B-9C56-A63C75AF6D56}"/>
              </a:ext>
            </a:extLst>
          </p:cNvPr>
          <p:cNvSpPr/>
          <p:nvPr userDrawn="1"/>
        </p:nvSpPr>
        <p:spPr>
          <a:xfrm>
            <a:off x="2917915" y="4662164"/>
            <a:ext cx="663381" cy="75892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0F3565-C67B-9B3D-A0E6-8EFB8E1023E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96000" y="3770313"/>
            <a:ext cx="4668838" cy="20891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641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746267F3-263E-2F49-61C5-CC2BBC1908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8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029" r="27364"/>
          <a:stretch/>
        </p:blipFill>
        <p:spPr>
          <a:xfrm rot="16200000">
            <a:off x="3910177" y="-2489398"/>
            <a:ext cx="7680961" cy="11272385"/>
          </a:xfrm>
          <a:prstGeom prst="rect">
            <a:avLst/>
          </a:prstGeom>
        </p:spPr>
      </p:pic>
      <p:sp>
        <p:nvSpPr>
          <p:cNvPr id="60" name="Content placeholder 47">
            <a:extLst>
              <a:ext uri="{FF2B5EF4-FFF2-40B4-BE49-F238E27FC236}">
                <a16:creationId xmlns:a16="http://schemas.microsoft.com/office/drawing/2014/main" id="{E2F72F6F-0172-47B0-8D9E-0EED383332E2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1257038" y="2936273"/>
            <a:ext cx="2368061" cy="2102177"/>
          </a:xfrm>
          <a:prstGeom prst="hexagon">
            <a:avLst>
              <a:gd name="adj" fmla="val 28349"/>
              <a:gd name="vf" fmla="val 115470"/>
            </a:avLst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52" name="Content placeholder 47" descr="Click icon to add picture">
            <a:extLst>
              <a:ext uri="{FF2B5EF4-FFF2-40B4-BE49-F238E27FC236}">
                <a16:creationId xmlns:a16="http://schemas.microsoft.com/office/drawing/2014/main" id="{2369DDD8-CFC2-4980-A0DB-411AA173B47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56243" y="5151784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53" name="Content placeholder 47">
            <a:extLst>
              <a:ext uri="{FF2B5EF4-FFF2-40B4-BE49-F238E27FC236}">
                <a16:creationId xmlns:a16="http://schemas.microsoft.com/office/drawing/2014/main" id="{B66AC261-5929-40D2-A646-8F16675DE3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56243" y="5682675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61" name="Content placeholder 47">
            <a:extLst>
              <a:ext uri="{FF2B5EF4-FFF2-40B4-BE49-F238E27FC236}">
                <a16:creationId xmlns:a16="http://schemas.microsoft.com/office/drawing/2014/main" id="{B33A9FB2-1610-4389-B352-D99255F77BEC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765776" y="2216650"/>
            <a:ext cx="2368061" cy="2102177"/>
          </a:xfrm>
          <a:prstGeom prst="hexagon">
            <a:avLst>
              <a:gd name="adj" fmla="val 28349"/>
              <a:gd name="vf" fmla="val 115470"/>
            </a:avLst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21" name="Content placeholder 47" descr="Click icon to add picture">
            <a:extLst>
              <a:ext uri="{FF2B5EF4-FFF2-40B4-BE49-F238E27FC236}">
                <a16:creationId xmlns:a16="http://schemas.microsoft.com/office/drawing/2014/main" id="{DEE851A8-3FB7-B319-A053-BE08A45763C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862680" y="4433327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2" name="Content placeholder 47">
            <a:extLst>
              <a:ext uri="{FF2B5EF4-FFF2-40B4-BE49-F238E27FC236}">
                <a16:creationId xmlns:a16="http://schemas.microsoft.com/office/drawing/2014/main" id="{5743B59B-3EAA-B249-07CE-9C9C5B0B6AB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862680" y="4964218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62" name="Content placeholder 47">
            <a:extLst>
              <a:ext uri="{FF2B5EF4-FFF2-40B4-BE49-F238E27FC236}">
                <a16:creationId xmlns:a16="http://schemas.microsoft.com/office/drawing/2014/main" id="{0AC60B87-71AC-4AA8-9AE7-B3B427BACB12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55641" y="2936273"/>
            <a:ext cx="2368061" cy="2102177"/>
          </a:xfrm>
          <a:prstGeom prst="hexagon">
            <a:avLst>
              <a:gd name="adj" fmla="val 28349"/>
              <a:gd name="vf" fmla="val 115470"/>
            </a:avLst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19" name="Content placeholder 47" descr="Click icon to add picture">
            <a:extLst>
              <a:ext uri="{FF2B5EF4-FFF2-40B4-BE49-F238E27FC236}">
                <a16:creationId xmlns:a16="http://schemas.microsoft.com/office/drawing/2014/main" id="{110FBA5D-2CEB-4D44-16CA-0F24099B140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60950" y="5151784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0" name="Content placeholder 47">
            <a:extLst>
              <a:ext uri="{FF2B5EF4-FFF2-40B4-BE49-F238E27FC236}">
                <a16:creationId xmlns:a16="http://schemas.microsoft.com/office/drawing/2014/main" id="{2108E774-D145-FA07-58F1-7DB37A30A59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60950" y="5682675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63" name="Content placeholder 47">
            <a:extLst>
              <a:ext uri="{FF2B5EF4-FFF2-40B4-BE49-F238E27FC236}">
                <a16:creationId xmlns:a16="http://schemas.microsoft.com/office/drawing/2014/main" id="{05B25D7D-82BA-4FF5-9C92-4AD181847515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8642568" y="2212251"/>
            <a:ext cx="2368061" cy="2102177"/>
          </a:xfrm>
          <a:prstGeom prst="hexagon">
            <a:avLst>
              <a:gd name="adj" fmla="val 28349"/>
              <a:gd name="vf" fmla="val 115470"/>
            </a:avLst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25" name="Content placeholder 47" descr="Click icon to add picture">
            <a:extLst>
              <a:ext uri="{FF2B5EF4-FFF2-40B4-BE49-F238E27FC236}">
                <a16:creationId xmlns:a16="http://schemas.microsoft.com/office/drawing/2014/main" id="{A9C2624B-E6E6-C673-E8FF-F4BF909C3AC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777580" y="4433327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6" name="Content placeholder 47">
            <a:extLst>
              <a:ext uri="{FF2B5EF4-FFF2-40B4-BE49-F238E27FC236}">
                <a16:creationId xmlns:a16="http://schemas.microsoft.com/office/drawing/2014/main" id="{A003837A-CCD7-3699-D86F-CB884CA4C67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777580" y="4964218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16" name="Title Placeholder 4">
            <a:extLst>
              <a:ext uri="{FF2B5EF4-FFF2-40B4-BE49-F238E27FC236}">
                <a16:creationId xmlns:a16="http://schemas.microsoft.com/office/drawing/2014/main" id="{DCA6F28B-ACF1-D3CB-8968-4F64BEA02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32513"/>
            <a:ext cx="10515600" cy="85817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683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92FA2A-46BA-2A19-C3CE-EC6985867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74" y="2367293"/>
            <a:ext cx="3909993" cy="3629708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8" name="Content placeholder 47">
            <a:extLst>
              <a:ext uri="{FF2B5EF4-FFF2-40B4-BE49-F238E27FC236}">
                <a16:creationId xmlns:a16="http://schemas.microsoft.com/office/drawing/2014/main" id="{BF9EDF7D-3BB1-43C0-92BB-091CCC520477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55876" y="436455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39" name="文本占位符 47" descr="Click icon to add picture">
            <a:extLst>
              <a:ext uri="{FF2B5EF4-FFF2-40B4-BE49-F238E27FC236}">
                <a16:creationId xmlns:a16="http://schemas.microsoft.com/office/drawing/2014/main" id="{15896C2C-7C25-4BC0-AF9B-DF590A2909A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06290" y="522515"/>
            <a:ext cx="2289842" cy="626551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40" name="Content placeholder 47">
            <a:extLst>
              <a:ext uri="{FF2B5EF4-FFF2-40B4-BE49-F238E27FC236}">
                <a16:creationId xmlns:a16="http://schemas.microsoft.com/office/drawing/2014/main" id="{CAC554EF-FF8F-4055-A716-E82F461413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906291" y="1165881"/>
            <a:ext cx="2289842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400" b="0" i="0">
                <a:solidFill>
                  <a:schemeClr val="accent6"/>
                </a:solidFill>
                <a:latin typeface="+mn-lt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56" name="Content placeholder 47">
            <a:extLst>
              <a:ext uri="{FF2B5EF4-FFF2-40B4-BE49-F238E27FC236}">
                <a16:creationId xmlns:a16="http://schemas.microsoft.com/office/drawing/2014/main" id="{4F0742C0-A9F2-4886-B17E-6915399483C3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8445996" y="436455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1" name="Content placeholder 47" descr="Click icon to add picture">
            <a:extLst>
              <a:ext uri="{FF2B5EF4-FFF2-40B4-BE49-F238E27FC236}">
                <a16:creationId xmlns:a16="http://schemas.microsoft.com/office/drawing/2014/main" id="{CE3DC674-39AB-43B9-AC30-97A68D22159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695969" y="642667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42" name="Content placeholder 47">
            <a:extLst>
              <a:ext uri="{FF2B5EF4-FFF2-40B4-BE49-F238E27FC236}">
                <a16:creationId xmlns:a16="http://schemas.microsoft.com/office/drawing/2014/main" id="{F12189CA-0E22-41A5-91FD-03761860993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695971" y="1165881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48" name="Content placeholder 47">
            <a:extLst>
              <a:ext uri="{FF2B5EF4-FFF2-40B4-BE49-F238E27FC236}">
                <a16:creationId xmlns:a16="http://schemas.microsoft.com/office/drawing/2014/main" id="{A962C62E-F92F-445A-9243-8B433747A548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4655876" y="2004222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3" name="Content placeholder 47" descr="Click icon to add picture">
            <a:extLst>
              <a:ext uri="{FF2B5EF4-FFF2-40B4-BE49-F238E27FC236}">
                <a16:creationId xmlns:a16="http://schemas.microsoft.com/office/drawing/2014/main" id="{DE6F9463-BB2D-43FC-BE8F-21D3F9A2539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906290" y="2105171"/>
            <a:ext cx="2193021" cy="617418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44" name="Content placeholder 47">
            <a:extLst>
              <a:ext uri="{FF2B5EF4-FFF2-40B4-BE49-F238E27FC236}">
                <a16:creationId xmlns:a16="http://schemas.microsoft.com/office/drawing/2014/main" id="{7DF27694-08A2-4530-B763-5A9B9D4DC6E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906292" y="2739721"/>
            <a:ext cx="2193021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61" name="Content placeholder 47">
            <a:extLst>
              <a:ext uri="{FF2B5EF4-FFF2-40B4-BE49-F238E27FC236}">
                <a16:creationId xmlns:a16="http://schemas.microsoft.com/office/drawing/2014/main" id="{2EA753B3-D0BB-4484-85D1-E28345D99F4C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8445996" y="2004222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 dirty="0"/>
          </a:p>
        </p:txBody>
      </p:sp>
      <p:sp>
        <p:nvSpPr>
          <p:cNvPr id="45" name="Content placeholder 47" descr="Click icon to add picture">
            <a:extLst>
              <a:ext uri="{FF2B5EF4-FFF2-40B4-BE49-F238E27FC236}">
                <a16:creationId xmlns:a16="http://schemas.microsoft.com/office/drawing/2014/main" id="{20398AA4-3D68-487D-BE7C-9F1D45E3F5F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695970" y="2032203"/>
            <a:ext cx="2098039" cy="701144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46" name="Content placeholder 47">
            <a:extLst>
              <a:ext uri="{FF2B5EF4-FFF2-40B4-BE49-F238E27FC236}">
                <a16:creationId xmlns:a16="http://schemas.microsoft.com/office/drawing/2014/main" id="{6B623D7A-5E96-42AB-9B1F-14E44550318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695970" y="2746407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49" name="Content placeholder 47">
            <a:extLst>
              <a:ext uri="{FF2B5EF4-FFF2-40B4-BE49-F238E27FC236}">
                <a16:creationId xmlns:a16="http://schemas.microsoft.com/office/drawing/2014/main" id="{EAA5B0EA-1F3B-4D8B-9BB9-F9037A393705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4655876" y="3571991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7" name="Content placeholder 47" descr="Click icon to add picture">
            <a:extLst>
              <a:ext uri="{FF2B5EF4-FFF2-40B4-BE49-F238E27FC236}">
                <a16:creationId xmlns:a16="http://schemas.microsoft.com/office/drawing/2014/main" id="{2C93687D-1E42-4B01-9F16-9FA098CE115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06290" y="3775516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50" name="Content placeholder 47">
            <a:extLst>
              <a:ext uri="{FF2B5EF4-FFF2-40B4-BE49-F238E27FC236}">
                <a16:creationId xmlns:a16="http://schemas.microsoft.com/office/drawing/2014/main" id="{7AB91474-458B-45F7-9773-FA375C2CF7F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906291" y="4312077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62" name="Content placeholder 47">
            <a:extLst>
              <a:ext uri="{FF2B5EF4-FFF2-40B4-BE49-F238E27FC236}">
                <a16:creationId xmlns:a16="http://schemas.microsoft.com/office/drawing/2014/main" id="{52E587E7-A09A-4FB2-8774-8073E737F106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>
          <a:xfrm>
            <a:off x="8445996" y="3571991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51" name="Content placeholder 47" descr="Click icon to add picture">
            <a:extLst>
              <a:ext uri="{FF2B5EF4-FFF2-40B4-BE49-F238E27FC236}">
                <a16:creationId xmlns:a16="http://schemas.microsoft.com/office/drawing/2014/main" id="{FBF01DC7-D684-4484-B2AA-B50F7B1A00D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695969" y="3775516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52" name="Content placeholder 47">
            <a:extLst>
              <a:ext uri="{FF2B5EF4-FFF2-40B4-BE49-F238E27FC236}">
                <a16:creationId xmlns:a16="http://schemas.microsoft.com/office/drawing/2014/main" id="{6046C90F-8A25-4E70-9BC9-4496C6B94EB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9695971" y="4312077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55" name="Content placeholder 47">
            <a:extLst>
              <a:ext uri="{FF2B5EF4-FFF2-40B4-BE49-F238E27FC236}">
                <a16:creationId xmlns:a16="http://schemas.microsoft.com/office/drawing/2014/main" id="{D05B9A22-6B21-40BB-BBC1-9586C432A97B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4655876" y="5153614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53" name="Content placeholder 47" descr="Click icon to add picture">
            <a:extLst>
              <a:ext uri="{FF2B5EF4-FFF2-40B4-BE49-F238E27FC236}">
                <a16:creationId xmlns:a16="http://schemas.microsoft.com/office/drawing/2014/main" id="{F5E2B418-8D0E-4995-A3ED-4348C6F4A1A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906290" y="5369449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58" name="Content placeholder 47">
            <a:extLst>
              <a:ext uri="{FF2B5EF4-FFF2-40B4-BE49-F238E27FC236}">
                <a16:creationId xmlns:a16="http://schemas.microsoft.com/office/drawing/2014/main" id="{90A2A6E4-4D11-4F28-9D68-BC28580EBC0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06291" y="5901594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63" name="Content placeholder 47">
            <a:extLst>
              <a:ext uri="{FF2B5EF4-FFF2-40B4-BE49-F238E27FC236}">
                <a16:creationId xmlns:a16="http://schemas.microsoft.com/office/drawing/2014/main" id="{A74DEBE4-2F74-4EB7-9501-8D37A3151B2A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8445996" y="5153614"/>
            <a:ext cx="1173264" cy="135792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59" name="Content placeholder 47" descr="Click icon to add picture">
            <a:extLst>
              <a:ext uri="{FF2B5EF4-FFF2-40B4-BE49-F238E27FC236}">
                <a16:creationId xmlns:a16="http://schemas.microsoft.com/office/drawing/2014/main" id="{070D69EE-1032-4604-B201-FD13AE846E9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699692" y="5369449"/>
            <a:ext cx="2098039" cy="50639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60" name="Content placeholder 47">
            <a:extLst>
              <a:ext uri="{FF2B5EF4-FFF2-40B4-BE49-F238E27FC236}">
                <a16:creationId xmlns:a16="http://schemas.microsoft.com/office/drawing/2014/main" id="{B65187B8-CD7A-46B0-A851-E2456586E75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695971" y="5901594"/>
            <a:ext cx="2098038" cy="50639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n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5FB04AD2-C50E-3C21-04EC-5B4853E974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8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029" r="27364"/>
          <a:stretch/>
        </p:blipFill>
        <p:spPr>
          <a:xfrm rot="16200000">
            <a:off x="3910177" y="-2489398"/>
            <a:ext cx="7680961" cy="11272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1174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6">
            <a:extLst>
              <a:ext uri="{FF2B5EF4-FFF2-40B4-BE49-F238E27FC236}">
                <a16:creationId xmlns:a16="http://schemas.microsoft.com/office/drawing/2014/main" id="{A533F602-EEC9-45F6-8223-8C8F4914919D}"/>
              </a:ext>
            </a:extLst>
          </p:cNvPr>
          <p:cNvSpPr/>
          <p:nvPr userDrawn="1"/>
        </p:nvSpPr>
        <p:spPr>
          <a:xfrm>
            <a:off x="2121636" y="2070606"/>
            <a:ext cx="1583013" cy="184155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53FFF3"/>
                </a:gs>
                <a:gs pos="100000">
                  <a:srgbClr val="7363A8"/>
                </a:gs>
              </a:gsLst>
              <a:lin ang="5400000" scaled="1"/>
            </a:gra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5" name="Freeform: Shape 7">
            <a:extLst>
              <a:ext uri="{FF2B5EF4-FFF2-40B4-BE49-F238E27FC236}">
                <a16:creationId xmlns:a16="http://schemas.microsoft.com/office/drawing/2014/main" id="{08F73F8C-5CF8-4470-AE2B-8E6D7952FF3E}"/>
              </a:ext>
            </a:extLst>
          </p:cNvPr>
          <p:cNvSpPr/>
          <p:nvPr userDrawn="1"/>
        </p:nvSpPr>
        <p:spPr>
          <a:xfrm>
            <a:off x="4174867" y="2073440"/>
            <a:ext cx="1583013" cy="184155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53FFF3"/>
                </a:gs>
                <a:gs pos="100000">
                  <a:srgbClr val="7363A8"/>
                </a:gs>
              </a:gsLst>
              <a:lin ang="5400000" scaled="1"/>
            </a:gra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6" name="Freeform: Shape 8">
            <a:extLst>
              <a:ext uri="{FF2B5EF4-FFF2-40B4-BE49-F238E27FC236}">
                <a16:creationId xmlns:a16="http://schemas.microsoft.com/office/drawing/2014/main" id="{1299AD72-44AB-4D37-ABBB-9E295508DDB5}"/>
              </a:ext>
            </a:extLst>
          </p:cNvPr>
          <p:cNvSpPr/>
          <p:nvPr userDrawn="1"/>
        </p:nvSpPr>
        <p:spPr>
          <a:xfrm>
            <a:off x="6308379" y="2064520"/>
            <a:ext cx="1583013" cy="184155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53FFF3"/>
                </a:gs>
                <a:gs pos="100000">
                  <a:srgbClr val="7363A8"/>
                </a:gs>
              </a:gsLst>
              <a:lin ang="5400000" scaled="1"/>
            </a:gra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7" name="Freeform: Shape 9">
            <a:extLst>
              <a:ext uri="{FF2B5EF4-FFF2-40B4-BE49-F238E27FC236}">
                <a16:creationId xmlns:a16="http://schemas.microsoft.com/office/drawing/2014/main" id="{834981F1-A16D-4CA2-8001-0D2A65539268}"/>
              </a:ext>
            </a:extLst>
          </p:cNvPr>
          <p:cNvSpPr/>
          <p:nvPr userDrawn="1"/>
        </p:nvSpPr>
        <p:spPr>
          <a:xfrm>
            <a:off x="8407152" y="2068980"/>
            <a:ext cx="1583013" cy="184155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53FFF3"/>
                </a:gs>
                <a:gs pos="100000">
                  <a:srgbClr val="7363A8"/>
                </a:gs>
              </a:gsLst>
              <a:lin ang="5400000" scaled="1"/>
            </a:gra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1" name="Content placeholder 47" descr="Click icon to add picture">
            <a:extLst>
              <a:ext uri="{FF2B5EF4-FFF2-40B4-BE49-F238E27FC236}">
                <a16:creationId xmlns:a16="http://schemas.microsoft.com/office/drawing/2014/main" id="{7AA46292-B7E4-4DB5-85D0-C4F19D66F8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70" y="4416565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2" name="Content placeholder 47">
            <a:extLst>
              <a:ext uri="{FF2B5EF4-FFF2-40B4-BE49-F238E27FC236}">
                <a16:creationId xmlns:a16="http://schemas.microsoft.com/office/drawing/2014/main" id="{382E7D57-1A1A-432F-AEA9-9730DEE157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27" y="5007731"/>
            <a:ext cx="1691687" cy="811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33" name="Content placeholder 47" descr="Click icon to add picture">
            <a:extLst>
              <a:ext uri="{FF2B5EF4-FFF2-40B4-BE49-F238E27FC236}">
                <a16:creationId xmlns:a16="http://schemas.microsoft.com/office/drawing/2014/main" id="{E51F0384-440E-45B9-91E7-78CA13DE0B9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888314" y="4416565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4" name="Content placeholder 47">
            <a:extLst>
              <a:ext uri="{FF2B5EF4-FFF2-40B4-BE49-F238E27FC236}">
                <a16:creationId xmlns:a16="http://schemas.microsoft.com/office/drawing/2014/main" id="{35EAE525-3692-40E8-894E-B19171FF64F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979171" y="5007731"/>
            <a:ext cx="1691687" cy="811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35" name="Content placeholder 47" descr="Click icon to add picture">
            <a:extLst>
              <a:ext uri="{FF2B5EF4-FFF2-40B4-BE49-F238E27FC236}">
                <a16:creationId xmlns:a16="http://schemas.microsoft.com/office/drawing/2014/main" id="{847DC539-F391-4470-96EB-486AB02DADB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073898" y="4416565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6" name="Content placeholder 47">
            <a:extLst>
              <a:ext uri="{FF2B5EF4-FFF2-40B4-BE49-F238E27FC236}">
                <a16:creationId xmlns:a16="http://schemas.microsoft.com/office/drawing/2014/main" id="{50988645-D146-4AFE-B87D-27927957717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64755" y="5007731"/>
            <a:ext cx="1691687" cy="811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37" name="Content placeholder 47" descr="Click icon to add picture">
            <a:extLst>
              <a:ext uri="{FF2B5EF4-FFF2-40B4-BE49-F238E27FC236}">
                <a16:creationId xmlns:a16="http://schemas.microsoft.com/office/drawing/2014/main" id="{6712E8AC-14E0-42CC-8037-7C1D0E044B6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259482" y="4416565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8" name="Content placeholder 47">
            <a:extLst>
              <a:ext uri="{FF2B5EF4-FFF2-40B4-BE49-F238E27FC236}">
                <a16:creationId xmlns:a16="http://schemas.microsoft.com/office/drawing/2014/main" id="{C68DF822-6F14-4839-BD33-6874C8136EE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350339" y="5007731"/>
            <a:ext cx="1691687" cy="811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39" name="Content placeholder 47" descr="Click icon to add picture">
            <a:extLst>
              <a:ext uri="{FF2B5EF4-FFF2-40B4-BE49-F238E27FC236}">
                <a16:creationId xmlns:a16="http://schemas.microsoft.com/office/drawing/2014/main" id="{2D1F75C7-DA21-4400-B066-F38190B4F52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445066" y="4416565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40" name="Content placeholder 47">
            <a:extLst>
              <a:ext uri="{FF2B5EF4-FFF2-40B4-BE49-F238E27FC236}">
                <a16:creationId xmlns:a16="http://schemas.microsoft.com/office/drawing/2014/main" id="{F7CF6BF0-A40D-4F18-B9DF-D9C4106065D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535923" y="5007731"/>
            <a:ext cx="1691687" cy="811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1400" b="0" i="0" kern="1200" dirty="0">
                <a:solidFill>
                  <a:schemeClr val="accent6"/>
                </a:solidFill>
                <a:latin typeface="+mn-lt"/>
                <a:ea typeface="+mj-ea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41" name="Content placeholder 47">
            <a:extLst>
              <a:ext uri="{FF2B5EF4-FFF2-40B4-BE49-F238E27FC236}">
                <a16:creationId xmlns:a16="http://schemas.microsoft.com/office/drawing/2014/main" id="{95C6B2A2-937E-4C7D-92E3-8A105DD43A98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983282" y="2073439"/>
            <a:ext cx="1621032" cy="1841551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2" name="Content placeholder 47">
            <a:extLst>
              <a:ext uri="{FF2B5EF4-FFF2-40B4-BE49-F238E27FC236}">
                <a16:creationId xmlns:a16="http://schemas.microsoft.com/office/drawing/2014/main" id="{A9ECEF10-95EB-4F03-B3B1-8FC0E421618E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3109346" y="2073439"/>
            <a:ext cx="1621032" cy="1841551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3" name="Content placeholder 47">
            <a:extLst>
              <a:ext uri="{FF2B5EF4-FFF2-40B4-BE49-F238E27FC236}">
                <a16:creationId xmlns:a16="http://schemas.microsoft.com/office/drawing/2014/main" id="{12D92FE1-9874-49B8-8FDC-F903A4843015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235410" y="2073439"/>
            <a:ext cx="1621032" cy="1841551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4" name="Content placeholder 47">
            <a:extLst>
              <a:ext uri="{FF2B5EF4-FFF2-40B4-BE49-F238E27FC236}">
                <a16:creationId xmlns:a16="http://schemas.microsoft.com/office/drawing/2014/main" id="{12070F52-AB91-476E-9FE0-5403568A11DD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7361474" y="2073439"/>
            <a:ext cx="1621032" cy="1841551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5" name="Content placeholder 47">
            <a:extLst>
              <a:ext uri="{FF2B5EF4-FFF2-40B4-BE49-F238E27FC236}">
                <a16:creationId xmlns:a16="http://schemas.microsoft.com/office/drawing/2014/main" id="{13AE459B-26D7-43FC-BE0B-EF7B119D7D40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9487536" y="2073439"/>
            <a:ext cx="1621032" cy="1841551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25" name="Title Placeholder 4">
            <a:extLst>
              <a:ext uri="{FF2B5EF4-FFF2-40B4-BE49-F238E27FC236}">
                <a16:creationId xmlns:a16="http://schemas.microsoft.com/office/drawing/2014/main" id="{C8ECEE37-7B17-4FD7-2612-FBD357E10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39337"/>
            <a:ext cx="10515600" cy="8513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317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ontent placeholder 47">
            <a:extLst>
              <a:ext uri="{FF2B5EF4-FFF2-40B4-BE49-F238E27FC236}">
                <a16:creationId xmlns:a16="http://schemas.microsoft.com/office/drawing/2014/main" id="{67FF6BA4-2B1B-4B51-9FE3-A67E3DCC318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8200" y="3265103"/>
            <a:ext cx="1865376" cy="2464293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tIns="219456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30" name="Content placeholder 47">
            <a:extLst>
              <a:ext uri="{FF2B5EF4-FFF2-40B4-BE49-F238E27FC236}">
                <a16:creationId xmlns:a16="http://schemas.microsoft.com/office/drawing/2014/main" id="{88E2377A-ED6B-4D69-A9DC-647CB22A520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000303" y="3265103"/>
            <a:ext cx="1867186" cy="2471878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tIns="219456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31" name="Content placeholder 47">
            <a:extLst>
              <a:ext uri="{FF2B5EF4-FFF2-40B4-BE49-F238E27FC236}">
                <a16:creationId xmlns:a16="http://schemas.microsoft.com/office/drawing/2014/main" id="{ECC27D7D-FA65-E93F-3C7E-AADBF7E0CC2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164216" y="3265103"/>
            <a:ext cx="1865376" cy="2464293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tIns="219456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33" name="Content placeholder 47">
            <a:extLst>
              <a:ext uri="{FF2B5EF4-FFF2-40B4-BE49-F238E27FC236}">
                <a16:creationId xmlns:a16="http://schemas.microsoft.com/office/drawing/2014/main" id="{DF5280E4-E86B-9E17-04A1-072A8148C3B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326319" y="3265103"/>
            <a:ext cx="1865376" cy="2464293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tIns="219456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37" name="Content placeholder 47">
            <a:extLst>
              <a:ext uri="{FF2B5EF4-FFF2-40B4-BE49-F238E27FC236}">
                <a16:creationId xmlns:a16="http://schemas.microsoft.com/office/drawing/2014/main" id="{42F4F0D3-AF64-7F92-FF1C-F5D1DC62A38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488424" y="3265103"/>
            <a:ext cx="1865376" cy="2464293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tIns="219456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27" name="Content placeholder 47">
            <a:extLst>
              <a:ext uri="{FF2B5EF4-FFF2-40B4-BE49-F238E27FC236}">
                <a16:creationId xmlns:a16="http://schemas.microsoft.com/office/drawing/2014/main" id="{43D089D6-48B5-43AB-A887-EEF910BA91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00" y="2402423"/>
            <a:ext cx="1865376" cy="866219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altLang="zh-CN" dirty="0"/>
              <a:t>Click to edit Master title style</a:t>
            </a:r>
            <a:endParaRPr lang="zh-CN" altLang="en-US" dirty="0"/>
          </a:p>
        </p:txBody>
      </p:sp>
      <p:sp>
        <p:nvSpPr>
          <p:cNvPr id="24" name="Title Placeholder 4">
            <a:extLst>
              <a:ext uri="{FF2B5EF4-FFF2-40B4-BE49-F238E27FC236}">
                <a16:creationId xmlns:a16="http://schemas.microsoft.com/office/drawing/2014/main" id="{69ABDED2-7EB3-3ABE-90D0-E6C00F806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24469"/>
            <a:ext cx="10515600" cy="866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5" name="Content placeholder 47">
            <a:extLst>
              <a:ext uri="{FF2B5EF4-FFF2-40B4-BE49-F238E27FC236}">
                <a16:creationId xmlns:a16="http://schemas.microsoft.com/office/drawing/2014/main" id="{476A31DC-7395-007C-8BA1-C38E5B289CF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000756" y="2402423"/>
            <a:ext cx="1865376" cy="866219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altLang="zh-CN" dirty="0"/>
              <a:t>Click to edit Master title style</a:t>
            </a:r>
            <a:endParaRPr lang="zh-CN" altLang="en-US" dirty="0"/>
          </a:p>
        </p:txBody>
      </p:sp>
      <p:sp>
        <p:nvSpPr>
          <p:cNvPr id="26" name="Content placeholder 47">
            <a:extLst>
              <a:ext uri="{FF2B5EF4-FFF2-40B4-BE49-F238E27FC236}">
                <a16:creationId xmlns:a16="http://schemas.microsoft.com/office/drawing/2014/main" id="{35CE0786-D87B-DD89-C418-C53C1B7E610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163312" y="2402423"/>
            <a:ext cx="1865376" cy="866219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altLang="zh-CN" dirty="0"/>
              <a:t>Click to edit Master title style</a:t>
            </a:r>
            <a:endParaRPr lang="zh-CN" altLang="en-US" dirty="0"/>
          </a:p>
        </p:txBody>
      </p:sp>
      <p:sp>
        <p:nvSpPr>
          <p:cNvPr id="28" name="Content placeholder 47">
            <a:extLst>
              <a:ext uri="{FF2B5EF4-FFF2-40B4-BE49-F238E27FC236}">
                <a16:creationId xmlns:a16="http://schemas.microsoft.com/office/drawing/2014/main" id="{7C7F2E6C-1DCD-3C6A-4830-5BF230A3AAB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325868" y="2402423"/>
            <a:ext cx="1865376" cy="866219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altLang="zh-CN" dirty="0"/>
              <a:t>Click to edit Master title style</a:t>
            </a:r>
            <a:endParaRPr lang="zh-CN" altLang="en-US" dirty="0"/>
          </a:p>
        </p:txBody>
      </p:sp>
      <p:sp>
        <p:nvSpPr>
          <p:cNvPr id="29" name="Content placeholder 47">
            <a:extLst>
              <a:ext uri="{FF2B5EF4-FFF2-40B4-BE49-F238E27FC236}">
                <a16:creationId xmlns:a16="http://schemas.microsoft.com/office/drawing/2014/main" id="{56A87F6E-D6C5-8903-BC20-3138100460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488424" y="2402423"/>
            <a:ext cx="1865376" cy="866219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altLang="zh-CN" dirty="0"/>
              <a:t>Click to edit Master title style</a:t>
            </a:r>
            <a:endParaRPr lang="zh-CN" alt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7C805DA-AD5A-9C79-6CAB-530F70E7EF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45392" y="2401905"/>
            <a:ext cx="10515600" cy="859536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98592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Freeform: Shape 25">
            <a:extLst>
              <a:ext uri="{FF2B5EF4-FFF2-40B4-BE49-F238E27FC236}">
                <a16:creationId xmlns:a16="http://schemas.microsoft.com/office/drawing/2014/main" id="{D61EE2E4-C5DD-4944-B70C-8F0A3F741A59}"/>
              </a:ext>
            </a:extLst>
          </p:cNvPr>
          <p:cNvSpPr/>
          <p:nvPr userDrawn="1"/>
        </p:nvSpPr>
        <p:spPr>
          <a:xfrm>
            <a:off x="1295508" y="3039919"/>
            <a:ext cx="2375255" cy="273493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67" name="Freeform: Shape 26">
            <a:extLst>
              <a:ext uri="{FF2B5EF4-FFF2-40B4-BE49-F238E27FC236}">
                <a16:creationId xmlns:a16="http://schemas.microsoft.com/office/drawing/2014/main" id="{91FA36A8-94E8-4069-B957-F7145D77BD5F}"/>
              </a:ext>
            </a:extLst>
          </p:cNvPr>
          <p:cNvSpPr/>
          <p:nvPr userDrawn="1"/>
        </p:nvSpPr>
        <p:spPr>
          <a:xfrm>
            <a:off x="3681780" y="1677046"/>
            <a:ext cx="2375255" cy="273493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68" name="Freeform: Shape 27">
            <a:extLst>
              <a:ext uri="{FF2B5EF4-FFF2-40B4-BE49-F238E27FC236}">
                <a16:creationId xmlns:a16="http://schemas.microsoft.com/office/drawing/2014/main" id="{7D38D67C-B6B8-4EB2-BC07-4A8128F44D16}"/>
              </a:ext>
            </a:extLst>
          </p:cNvPr>
          <p:cNvSpPr/>
          <p:nvPr userDrawn="1"/>
        </p:nvSpPr>
        <p:spPr>
          <a:xfrm>
            <a:off x="4865676" y="3722308"/>
            <a:ext cx="2375255" cy="273493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69" name="Freeform: Shape 28">
            <a:extLst>
              <a:ext uri="{FF2B5EF4-FFF2-40B4-BE49-F238E27FC236}">
                <a16:creationId xmlns:a16="http://schemas.microsoft.com/office/drawing/2014/main" id="{6B2E4C8C-D96E-4A66-A3D2-3580DACCF801}"/>
              </a:ext>
            </a:extLst>
          </p:cNvPr>
          <p:cNvSpPr/>
          <p:nvPr userDrawn="1"/>
        </p:nvSpPr>
        <p:spPr>
          <a:xfrm>
            <a:off x="7236143" y="3725411"/>
            <a:ext cx="2375255" cy="273493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0" name="Freeform: Shape 29">
            <a:extLst>
              <a:ext uri="{FF2B5EF4-FFF2-40B4-BE49-F238E27FC236}">
                <a16:creationId xmlns:a16="http://schemas.microsoft.com/office/drawing/2014/main" id="{74E0B8B0-45C7-4733-BBDC-B82F9307E431}"/>
              </a:ext>
            </a:extLst>
          </p:cNvPr>
          <p:cNvSpPr/>
          <p:nvPr userDrawn="1"/>
        </p:nvSpPr>
        <p:spPr>
          <a:xfrm>
            <a:off x="8412154" y="1667521"/>
            <a:ext cx="2375255" cy="273493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1" name="Freeform: Shape 30">
            <a:extLst>
              <a:ext uri="{FF2B5EF4-FFF2-40B4-BE49-F238E27FC236}">
                <a16:creationId xmlns:a16="http://schemas.microsoft.com/office/drawing/2014/main" id="{F0BBECC2-631C-4C53-A9E8-6C87D48A3B01}"/>
              </a:ext>
            </a:extLst>
          </p:cNvPr>
          <p:cNvSpPr/>
          <p:nvPr userDrawn="1"/>
        </p:nvSpPr>
        <p:spPr>
          <a:xfrm>
            <a:off x="1273408" y="1672538"/>
            <a:ext cx="7152768" cy="2736950"/>
          </a:xfrm>
          <a:custGeom>
            <a:avLst/>
            <a:gdLst>
              <a:gd name="connsiteX0" fmla="*/ 0 w 5958191"/>
              <a:gd name="connsiteY0" fmla="*/ 2052536 h 2733472"/>
              <a:gd name="connsiteX1" fmla="*/ 1186774 w 5958191"/>
              <a:gd name="connsiteY1" fmla="*/ 1361872 h 2733472"/>
              <a:gd name="connsiteX2" fmla="*/ 2368685 w 5958191"/>
              <a:gd name="connsiteY2" fmla="*/ 2057400 h 2733472"/>
              <a:gd name="connsiteX3" fmla="*/ 2378413 w 5958191"/>
              <a:gd name="connsiteY3" fmla="*/ 690664 h 2733472"/>
              <a:gd name="connsiteX4" fmla="*/ 3570051 w 5958191"/>
              <a:gd name="connsiteY4" fmla="*/ 0 h 2733472"/>
              <a:gd name="connsiteX5" fmla="*/ 4761689 w 5958191"/>
              <a:gd name="connsiteY5" fmla="*/ 680936 h 2733472"/>
              <a:gd name="connsiteX6" fmla="*/ 4756825 w 5958191"/>
              <a:gd name="connsiteY6" fmla="*/ 2052536 h 2733472"/>
              <a:gd name="connsiteX7" fmla="*/ 5958191 w 5958191"/>
              <a:gd name="connsiteY7" fmla="*/ 2733472 h 2733472"/>
              <a:gd name="connsiteX8" fmla="*/ 5958191 w 5958191"/>
              <a:gd name="connsiteY8" fmla="*/ 2733472 h 2733472"/>
              <a:gd name="connsiteX0" fmla="*/ 0 w 7159557"/>
              <a:gd name="connsiteY0" fmla="*/ 2052536 h 2733472"/>
              <a:gd name="connsiteX1" fmla="*/ 1186774 w 7159557"/>
              <a:gd name="connsiteY1" fmla="*/ 1361872 h 2733472"/>
              <a:gd name="connsiteX2" fmla="*/ 2368685 w 7159557"/>
              <a:gd name="connsiteY2" fmla="*/ 2057400 h 2733472"/>
              <a:gd name="connsiteX3" fmla="*/ 2378413 w 7159557"/>
              <a:gd name="connsiteY3" fmla="*/ 690664 h 2733472"/>
              <a:gd name="connsiteX4" fmla="*/ 3570051 w 7159557"/>
              <a:gd name="connsiteY4" fmla="*/ 0 h 2733472"/>
              <a:gd name="connsiteX5" fmla="*/ 4761689 w 7159557"/>
              <a:gd name="connsiteY5" fmla="*/ 680936 h 2733472"/>
              <a:gd name="connsiteX6" fmla="*/ 4756825 w 7159557"/>
              <a:gd name="connsiteY6" fmla="*/ 2052536 h 2733472"/>
              <a:gd name="connsiteX7" fmla="*/ 5958191 w 7159557"/>
              <a:gd name="connsiteY7" fmla="*/ 2733472 h 2733472"/>
              <a:gd name="connsiteX8" fmla="*/ 7159557 w 7159557"/>
              <a:gd name="connsiteY8" fmla="*/ 2067128 h 2733472"/>
              <a:gd name="connsiteX0" fmla="*/ 0 w 7164420"/>
              <a:gd name="connsiteY0" fmla="*/ 2052536 h 2733472"/>
              <a:gd name="connsiteX1" fmla="*/ 1186774 w 7164420"/>
              <a:gd name="connsiteY1" fmla="*/ 1361872 h 2733472"/>
              <a:gd name="connsiteX2" fmla="*/ 2368685 w 7164420"/>
              <a:gd name="connsiteY2" fmla="*/ 2057400 h 2733472"/>
              <a:gd name="connsiteX3" fmla="*/ 2378413 w 7164420"/>
              <a:gd name="connsiteY3" fmla="*/ 690664 h 2733472"/>
              <a:gd name="connsiteX4" fmla="*/ 3570051 w 7164420"/>
              <a:gd name="connsiteY4" fmla="*/ 0 h 2733472"/>
              <a:gd name="connsiteX5" fmla="*/ 4761689 w 7164420"/>
              <a:gd name="connsiteY5" fmla="*/ 680936 h 2733472"/>
              <a:gd name="connsiteX6" fmla="*/ 4756825 w 7164420"/>
              <a:gd name="connsiteY6" fmla="*/ 2052536 h 2733472"/>
              <a:gd name="connsiteX7" fmla="*/ 5958191 w 7164420"/>
              <a:gd name="connsiteY7" fmla="*/ 2733472 h 2733472"/>
              <a:gd name="connsiteX8" fmla="*/ 7164420 w 7164420"/>
              <a:gd name="connsiteY8" fmla="*/ 2062264 h 2733472"/>
              <a:gd name="connsiteX0" fmla="*/ 0 w 7164420"/>
              <a:gd name="connsiteY0" fmla="*/ 2052536 h 2733472"/>
              <a:gd name="connsiteX1" fmla="*/ 1186774 w 7164420"/>
              <a:gd name="connsiteY1" fmla="*/ 1361872 h 2733472"/>
              <a:gd name="connsiteX2" fmla="*/ 2368685 w 7164420"/>
              <a:gd name="connsiteY2" fmla="*/ 2057400 h 2733472"/>
              <a:gd name="connsiteX3" fmla="*/ 2378413 w 7164420"/>
              <a:gd name="connsiteY3" fmla="*/ 690664 h 2733472"/>
              <a:gd name="connsiteX4" fmla="*/ 3570051 w 7164420"/>
              <a:gd name="connsiteY4" fmla="*/ 0 h 2733472"/>
              <a:gd name="connsiteX5" fmla="*/ 4761689 w 7164420"/>
              <a:gd name="connsiteY5" fmla="*/ 680936 h 2733472"/>
              <a:gd name="connsiteX6" fmla="*/ 4756825 w 7164420"/>
              <a:gd name="connsiteY6" fmla="*/ 2052536 h 2733472"/>
              <a:gd name="connsiteX7" fmla="*/ 5958191 w 7164420"/>
              <a:gd name="connsiteY7" fmla="*/ 2733472 h 2733472"/>
              <a:gd name="connsiteX8" fmla="*/ 7164420 w 7164420"/>
              <a:gd name="connsiteY8" fmla="*/ 2057400 h 2733472"/>
              <a:gd name="connsiteX0" fmla="*/ 0 w 7164420"/>
              <a:gd name="connsiteY0" fmla="*/ 2052536 h 2733472"/>
              <a:gd name="connsiteX1" fmla="*/ 1186774 w 7164420"/>
              <a:gd name="connsiteY1" fmla="*/ 1361872 h 2733472"/>
              <a:gd name="connsiteX2" fmla="*/ 2368685 w 7164420"/>
              <a:gd name="connsiteY2" fmla="*/ 2057400 h 2733472"/>
              <a:gd name="connsiteX3" fmla="*/ 2378413 w 7164420"/>
              <a:gd name="connsiteY3" fmla="*/ 690664 h 2733472"/>
              <a:gd name="connsiteX4" fmla="*/ 3570051 w 7164420"/>
              <a:gd name="connsiteY4" fmla="*/ 0 h 2733472"/>
              <a:gd name="connsiteX5" fmla="*/ 4761689 w 7164420"/>
              <a:gd name="connsiteY5" fmla="*/ 680936 h 2733472"/>
              <a:gd name="connsiteX6" fmla="*/ 4756825 w 7164420"/>
              <a:gd name="connsiteY6" fmla="*/ 2052536 h 2733472"/>
              <a:gd name="connsiteX7" fmla="*/ 5958191 w 7164420"/>
              <a:gd name="connsiteY7" fmla="*/ 2733472 h 2733472"/>
              <a:gd name="connsiteX8" fmla="*/ 7164420 w 7164420"/>
              <a:gd name="connsiteY8" fmla="*/ 2052536 h 2733472"/>
              <a:gd name="connsiteX0" fmla="*/ 0 w 7159556"/>
              <a:gd name="connsiteY0" fmla="*/ 2052536 h 2733472"/>
              <a:gd name="connsiteX1" fmla="*/ 1186774 w 7159556"/>
              <a:gd name="connsiteY1" fmla="*/ 1361872 h 2733472"/>
              <a:gd name="connsiteX2" fmla="*/ 2368685 w 7159556"/>
              <a:gd name="connsiteY2" fmla="*/ 2057400 h 2733472"/>
              <a:gd name="connsiteX3" fmla="*/ 2378413 w 7159556"/>
              <a:gd name="connsiteY3" fmla="*/ 690664 h 2733472"/>
              <a:gd name="connsiteX4" fmla="*/ 3570051 w 7159556"/>
              <a:gd name="connsiteY4" fmla="*/ 0 h 2733472"/>
              <a:gd name="connsiteX5" fmla="*/ 4761689 w 7159556"/>
              <a:gd name="connsiteY5" fmla="*/ 680936 h 2733472"/>
              <a:gd name="connsiteX6" fmla="*/ 4756825 w 7159556"/>
              <a:gd name="connsiteY6" fmla="*/ 2052536 h 2733472"/>
              <a:gd name="connsiteX7" fmla="*/ 5958191 w 7159556"/>
              <a:gd name="connsiteY7" fmla="*/ 2733472 h 2733472"/>
              <a:gd name="connsiteX8" fmla="*/ 7159556 w 7159556"/>
              <a:gd name="connsiteY8" fmla="*/ 2052536 h 2733472"/>
              <a:gd name="connsiteX0" fmla="*/ 0 w 7145649"/>
              <a:gd name="connsiteY0" fmla="*/ 2049060 h 2733472"/>
              <a:gd name="connsiteX1" fmla="*/ 1172867 w 7145649"/>
              <a:gd name="connsiteY1" fmla="*/ 1361872 h 2733472"/>
              <a:gd name="connsiteX2" fmla="*/ 2354778 w 7145649"/>
              <a:gd name="connsiteY2" fmla="*/ 2057400 h 2733472"/>
              <a:gd name="connsiteX3" fmla="*/ 2364506 w 7145649"/>
              <a:gd name="connsiteY3" fmla="*/ 690664 h 2733472"/>
              <a:gd name="connsiteX4" fmla="*/ 3556144 w 7145649"/>
              <a:gd name="connsiteY4" fmla="*/ 0 h 2733472"/>
              <a:gd name="connsiteX5" fmla="*/ 4747782 w 7145649"/>
              <a:gd name="connsiteY5" fmla="*/ 680936 h 2733472"/>
              <a:gd name="connsiteX6" fmla="*/ 4742918 w 7145649"/>
              <a:gd name="connsiteY6" fmla="*/ 2052536 h 2733472"/>
              <a:gd name="connsiteX7" fmla="*/ 5944284 w 7145649"/>
              <a:gd name="connsiteY7" fmla="*/ 2733472 h 2733472"/>
              <a:gd name="connsiteX8" fmla="*/ 7145649 w 7145649"/>
              <a:gd name="connsiteY8" fmla="*/ 2052536 h 2733472"/>
              <a:gd name="connsiteX0" fmla="*/ 0 w 7156079"/>
              <a:gd name="connsiteY0" fmla="*/ 2035152 h 2733472"/>
              <a:gd name="connsiteX1" fmla="*/ 1183297 w 7156079"/>
              <a:gd name="connsiteY1" fmla="*/ 1361872 h 2733472"/>
              <a:gd name="connsiteX2" fmla="*/ 2365208 w 7156079"/>
              <a:gd name="connsiteY2" fmla="*/ 2057400 h 2733472"/>
              <a:gd name="connsiteX3" fmla="*/ 2374936 w 7156079"/>
              <a:gd name="connsiteY3" fmla="*/ 690664 h 2733472"/>
              <a:gd name="connsiteX4" fmla="*/ 3566574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35152 h 2733472"/>
              <a:gd name="connsiteX1" fmla="*/ 1183297 w 7156079"/>
              <a:gd name="connsiteY1" fmla="*/ 1344488 h 2733472"/>
              <a:gd name="connsiteX2" fmla="*/ 2365208 w 7156079"/>
              <a:gd name="connsiteY2" fmla="*/ 2057400 h 2733472"/>
              <a:gd name="connsiteX3" fmla="*/ 2374936 w 7156079"/>
              <a:gd name="connsiteY3" fmla="*/ 690664 h 2733472"/>
              <a:gd name="connsiteX4" fmla="*/ 3566574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35152 h 2733472"/>
              <a:gd name="connsiteX1" fmla="*/ 1183297 w 7156079"/>
              <a:gd name="connsiteY1" fmla="*/ 1344488 h 2733472"/>
              <a:gd name="connsiteX2" fmla="*/ 2361731 w 7156079"/>
              <a:gd name="connsiteY2" fmla="*/ 2029586 h 2733472"/>
              <a:gd name="connsiteX3" fmla="*/ 2374936 w 7156079"/>
              <a:gd name="connsiteY3" fmla="*/ 690664 h 2733472"/>
              <a:gd name="connsiteX4" fmla="*/ 3566574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35152 h 2733472"/>
              <a:gd name="connsiteX1" fmla="*/ 1183297 w 7156079"/>
              <a:gd name="connsiteY1" fmla="*/ 1344488 h 2733472"/>
              <a:gd name="connsiteX2" fmla="*/ 2382592 w 7156079"/>
              <a:gd name="connsiteY2" fmla="*/ 2033063 h 2733472"/>
              <a:gd name="connsiteX3" fmla="*/ 2374936 w 7156079"/>
              <a:gd name="connsiteY3" fmla="*/ 690664 h 2733472"/>
              <a:gd name="connsiteX4" fmla="*/ 3566574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35152 h 2733472"/>
              <a:gd name="connsiteX1" fmla="*/ 1183297 w 7156079"/>
              <a:gd name="connsiteY1" fmla="*/ 1344488 h 2733472"/>
              <a:gd name="connsiteX2" fmla="*/ 2372162 w 7156079"/>
              <a:gd name="connsiteY2" fmla="*/ 2026110 h 2733472"/>
              <a:gd name="connsiteX3" fmla="*/ 2374936 w 7156079"/>
              <a:gd name="connsiteY3" fmla="*/ 690664 h 2733472"/>
              <a:gd name="connsiteX4" fmla="*/ 3566574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62966 h 2761286"/>
              <a:gd name="connsiteX1" fmla="*/ 1183297 w 7156079"/>
              <a:gd name="connsiteY1" fmla="*/ 1372302 h 2761286"/>
              <a:gd name="connsiteX2" fmla="*/ 2372162 w 7156079"/>
              <a:gd name="connsiteY2" fmla="*/ 2053924 h 2761286"/>
              <a:gd name="connsiteX3" fmla="*/ 2374936 w 7156079"/>
              <a:gd name="connsiteY3" fmla="*/ 718478 h 2761286"/>
              <a:gd name="connsiteX4" fmla="*/ 3577004 w 7156079"/>
              <a:gd name="connsiteY4" fmla="*/ 0 h 2761286"/>
              <a:gd name="connsiteX5" fmla="*/ 4758212 w 7156079"/>
              <a:gd name="connsiteY5" fmla="*/ 708750 h 2761286"/>
              <a:gd name="connsiteX6" fmla="*/ 4753348 w 7156079"/>
              <a:gd name="connsiteY6" fmla="*/ 2080350 h 2761286"/>
              <a:gd name="connsiteX7" fmla="*/ 5954714 w 7156079"/>
              <a:gd name="connsiteY7" fmla="*/ 2761286 h 2761286"/>
              <a:gd name="connsiteX8" fmla="*/ 7156079 w 7156079"/>
              <a:gd name="connsiteY8" fmla="*/ 2080350 h 2761286"/>
              <a:gd name="connsiteX0" fmla="*/ 0 w 7156079"/>
              <a:gd name="connsiteY0" fmla="*/ 2062966 h 2761286"/>
              <a:gd name="connsiteX1" fmla="*/ 1183297 w 7156079"/>
              <a:gd name="connsiteY1" fmla="*/ 1372302 h 2761286"/>
              <a:gd name="connsiteX2" fmla="*/ 2372162 w 7156079"/>
              <a:gd name="connsiteY2" fmla="*/ 2053924 h 2761286"/>
              <a:gd name="connsiteX3" fmla="*/ 2371460 w 7156079"/>
              <a:gd name="connsiteY3" fmla="*/ 708048 h 2761286"/>
              <a:gd name="connsiteX4" fmla="*/ 3577004 w 7156079"/>
              <a:gd name="connsiteY4" fmla="*/ 0 h 2761286"/>
              <a:gd name="connsiteX5" fmla="*/ 4758212 w 7156079"/>
              <a:gd name="connsiteY5" fmla="*/ 708750 h 2761286"/>
              <a:gd name="connsiteX6" fmla="*/ 4753348 w 7156079"/>
              <a:gd name="connsiteY6" fmla="*/ 2080350 h 2761286"/>
              <a:gd name="connsiteX7" fmla="*/ 5954714 w 7156079"/>
              <a:gd name="connsiteY7" fmla="*/ 2761286 h 2761286"/>
              <a:gd name="connsiteX8" fmla="*/ 7156079 w 7156079"/>
              <a:gd name="connsiteY8" fmla="*/ 2080350 h 2761286"/>
              <a:gd name="connsiteX0" fmla="*/ 0 w 7156079"/>
              <a:gd name="connsiteY0" fmla="*/ 2035152 h 2733472"/>
              <a:gd name="connsiteX1" fmla="*/ 1183297 w 7156079"/>
              <a:gd name="connsiteY1" fmla="*/ 1344488 h 2733472"/>
              <a:gd name="connsiteX2" fmla="*/ 2372162 w 7156079"/>
              <a:gd name="connsiteY2" fmla="*/ 2026110 h 2733472"/>
              <a:gd name="connsiteX3" fmla="*/ 2371460 w 7156079"/>
              <a:gd name="connsiteY3" fmla="*/ 680234 h 2733472"/>
              <a:gd name="connsiteX4" fmla="*/ 3573527 w 7156079"/>
              <a:gd name="connsiteY4" fmla="*/ 0 h 2733472"/>
              <a:gd name="connsiteX5" fmla="*/ 4758212 w 7156079"/>
              <a:gd name="connsiteY5" fmla="*/ 680936 h 2733472"/>
              <a:gd name="connsiteX6" fmla="*/ 4753348 w 7156079"/>
              <a:gd name="connsiteY6" fmla="*/ 2052536 h 2733472"/>
              <a:gd name="connsiteX7" fmla="*/ 5954714 w 7156079"/>
              <a:gd name="connsiteY7" fmla="*/ 2733472 h 2733472"/>
              <a:gd name="connsiteX8" fmla="*/ 7156079 w 7156079"/>
              <a:gd name="connsiteY8" fmla="*/ 2052536 h 2733472"/>
              <a:gd name="connsiteX0" fmla="*/ 0 w 7156079"/>
              <a:gd name="connsiteY0" fmla="*/ 2062967 h 2761287"/>
              <a:gd name="connsiteX1" fmla="*/ 1183297 w 7156079"/>
              <a:gd name="connsiteY1" fmla="*/ 1372303 h 2761287"/>
              <a:gd name="connsiteX2" fmla="*/ 2372162 w 7156079"/>
              <a:gd name="connsiteY2" fmla="*/ 2053925 h 2761287"/>
              <a:gd name="connsiteX3" fmla="*/ 2371460 w 7156079"/>
              <a:gd name="connsiteY3" fmla="*/ 708049 h 2761287"/>
              <a:gd name="connsiteX4" fmla="*/ 3563096 w 7156079"/>
              <a:gd name="connsiteY4" fmla="*/ 0 h 2761287"/>
              <a:gd name="connsiteX5" fmla="*/ 4758212 w 7156079"/>
              <a:gd name="connsiteY5" fmla="*/ 708751 h 2761287"/>
              <a:gd name="connsiteX6" fmla="*/ 4753348 w 7156079"/>
              <a:gd name="connsiteY6" fmla="*/ 2080351 h 2761287"/>
              <a:gd name="connsiteX7" fmla="*/ 5954714 w 7156079"/>
              <a:gd name="connsiteY7" fmla="*/ 2761287 h 2761287"/>
              <a:gd name="connsiteX8" fmla="*/ 7156079 w 7156079"/>
              <a:gd name="connsiteY8" fmla="*/ 2080351 h 2761287"/>
              <a:gd name="connsiteX0" fmla="*/ 0 w 7156079"/>
              <a:gd name="connsiteY0" fmla="*/ 2045583 h 2743903"/>
              <a:gd name="connsiteX1" fmla="*/ 1183297 w 7156079"/>
              <a:gd name="connsiteY1" fmla="*/ 1354919 h 2743903"/>
              <a:gd name="connsiteX2" fmla="*/ 2372162 w 7156079"/>
              <a:gd name="connsiteY2" fmla="*/ 2036541 h 2743903"/>
              <a:gd name="connsiteX3" fmla="*/ 2371460 w 7156079"/>
              <a:gd name="connsiteY3" fmla="*/ 690665 h 2743903"/>
              <a:gd name="connsiteX4" fmla="*/ 3563096 w 7156079"/>
              <a:gd name="connsiteY4" fmla="*/ 0 h 2743903"/>
              <a:gd name="connsiteX5" fmla="*/ 4758212 w 7156079"/>
              <a:gd name="connsiteY5" fmla="*/ 691367 h 2743903"/>
              <a:gd name="connsiteX6" fmla="*/ 4753348 w 7156079"/>
              <a:gd name="connsiteY6" fmla="*/ 2062967 h 2743903"/>
              <a:gd name="connsiteX7" fmla="*/ 5954714 w 7156079"/>
              <a:gd name="connsiteY7" fmla="*/ 2743903 h 2743903"/>
              <a:gd name="connsiteX8" fmla="*/ 7156079 w 7156079"/>
              <a:gd name="connsiteY8" fmla="*/ 2062967 h 2743903"/>
              <a:gd name="connsiteX0" fmla="*/ 0 w 7156079"/>
              <a:gd name="connsiteY0" fmla="*/ 2052537 h 2750857"/>
              <a:gd name="connsiteX1" fmla="*/ 1183297 w 7156079"/>
              <a:gd name="connsiteY1" fmla="*/ 1361873 h 2750857"/>
              <a:gd name="connsiteX2" fmla="*/ 2372162 w 7156079"/>
              <a:gd name="connsiteY2" fmla="*/ 2043495 h 2750857"/>
              <a:gd name="connsiteX3" fmla="*/ 2371460 w 7156079"/>
              <a:gd name="connsiteY3" fmla="*/ 697619 h 2750857"/>
              <a:gd name="connsiteX4" fmla="*/ 3559620 w 7156079"/>
              <a:gd name="connsiteY4" fmla="*/ 0 h 2750857"/>
              <a:gd name="connsiteX5" fmla="*/ 4758212 w 7156079"/>
              <a:gd name="connsiteY5" fmla="*/ 698321 h 2750857"/>
              <a:gd name="connsiteX6" fmla="*/ 4753348 w 7156079"/>
              <a:gd name="connsiteY6" fmla="*/ 2069921 h 2750857"/>
              <a:gd name="connsiteX7" fmla="*/ 5954714 w 7156079"/>
              <a:gd name="connsiteY7" fmla="*/ 2750857 h 2750857"/>
              <a:gd name="connsiteX8" fmla="*/ 7156079 w 7156079"/>
              <a:gd name="connsiteY8" fmla="*/ 2069921 h 2750857"/>
              <a:gd name="connsiteX0" fmla="*/ 0 w 7156079"/>
              <a:gd name="connsiteY0" fmla="*/ 2052537 h 2750857"/>
              <a:gd name="connsiteX1" fmla="*/ 1183297 w 7156079"/>
              <a:gd name="connsiteY1" fmla="*/ 1361873 h 2750857"/>
              <a:gd name="connsiteX2" fmla="*/ 2372162 w 7156079"/>
              <a:gd name="connsiteY2" fmla="*/ 2043495 h 2750857"/>
              <a:gd name="connsiteX3" fmla="*/ 2371460 w 7156079"/>
              <a:gd name="connsiteY3" fmla="*/ 697619 h 2750857"/>
              <a:gd name="connsiteX4" fmla="*/ 3559620 w 7156079"/>
              <a:gd name="connsiteY4" fmla="*/ 0 h 2750857"/>
              <a:gd name="connsiteX5" fmla="*/ 4751259 w 7156079"/>
              <a:gd name="connsiteY5" fmla="*/ 698321 h 2750857"/>
              <a:gd name="connsiteX6" fmla="*/ 4753348 w 7156079"/>
              <a:gd name="connsiteY6" fmla="*/ 2069921 h 2750857"/>
              <a:gd name="connsiteX7" fmla="*/ 5954714 w 7156079"/>
              <a:gd name="connsiteY7" fmla="*/ 2750857 h 2750857"/>
              <a:gd name="connsiteX8" fmla="*/ 7156079 w 7156079"/>
              <a:gd name="connsiteY8" fmla="*/ 2069921 h 2750857"/>
              <a:gd name="connsiteX0" fmla="*/ 0 w 7156079"/>
              <a:gd name="connsiteY0" fmla="*/ 2052537 h 2750857"/>
              <a:gd name="connsiteX1" fmla="*/ 1183297 w 7156079"/>
              <a:gd name="connsiteY1" fmla="*/ 1361873 h 2750857"/>
              <a:gd name="connsiteX2" fmla="*/ 2372162 w 7156079"/>
              <a:gd name="connsiteY2" fmla="*/ 2043495 h 2750857"/>
              <a:gd name="connsiteX3" fmla="*/ 2371460 w 7156079"/>
              <a:gd name="connsiteY3" fmla="*/ 697619 h 2750857"/>
              <a:gd name="connsiteX4" fmla="*/ 3559620 w 7156079"/>
              <a:gd name="connsiteY4" fmla="*/ 0 h 2750857"/>
              <a:gd name="connsiteX5" fmla="*/ 4751259 w 7156079"/>
              <a:gd name="connsiteY5" fmla="*/ 698321 h 2750857"/>
              <a:gd name="connsiteX6" fmla="*/ 4742917 w 7156079"/>
              <a:gd name="connsiteY6" fmla="*/ 2062967 h 2750857"/>
              <a:gd name="connsiteX7" fmla="*/ 5954714 w 7156079"/>
              <a:gd name="connsiteY7" fmla="*/ 2750857 h 2750857"/>
              <a:gd name="connsiteX8" fmla="*/ 7156079 w 7156079"/>
              <a:gd name="connsiteY8" fmla="*/ 2069921 h 2750857"/>
              <a:gd name="connsiteX0" fmla="*/ 0 w 7156079"/>
              <a:gd name="connsiteY0" fmla="*/ 2052537 h 2736950"/>
              <a:gd name="connsiteX1" fmla="*/ 1183297 w 7156079"/>
              <a:gd name="connsiteY1" fmla="*/ 1361873 h 2736950"/>
              <a:gd name="connsiteX2" fmla="*/ 2372162 w 7156079"/>
              <a:gd name="connsiteY2" fmla="*/ 2043495 h 2736950"/>
              <a:gd name="connsiteX3" fmla="*/ 2371460 w 7156079"/>
              <a:gd name="connsiteY3" fmla="*/ 697619 h 2736950"/>
              <a:gd name="connsiteX4" fmla="*/ 3559620 w 7156079"/>
              <a:gd name="connsiteY4" fmla="*/ 0 h 2736950"/>
              <a:gd name="connsiteX5" fmla="*/ 4751259 w 7156079"/>
              <a:gd name="connsiteY5" fmla="*/ 698321 h 2736950"/>
              <a:gd name="connsiteX6" fmla="*/ 4742917 w 7156079"/>
              <a:gd name="connsiteY6" fmla="*/ 2062967 h 2736950"/>
              <a:gd name="connsiteX7" fmla="*/ 5954714 w 7156079"/>
              <a:gd name="connsiteY7" fmla="*/ 2736950 h 2736950"/>
              <a:gd name="connsiteX8" fmla="*/ 7156079 w 7156079"/>
              <a:gd name="connsiteY8" fmla="*/ 2069921 h 2736950"/>
              <a:gd name="connsiteX0" fmla="*/ 0 w 7156079"/>
              <a:gd name="connsiteY0" fmla="*/ 2052537 h 2736950"/>
              <a:gd name="connsiteX1" fmla="*/ 1183297 w 7156079"/>
              <a:gd name="connsiteY1" fmla="*/ 1361873 h 2736950"/>
              <a:gd name="connsiteX2" fmla="*/ 2372162 w 7156079"/>
              <a:gd name="connsiteY2" fmla="*/ 2043495 h 2736950"/>
              <a:gd name="connsiteX3" fmla="*/ 2371460 w 7156079"/>
              <a:gd name="connsiteY3" fmla="*/ 697619 h 2736950"/>
              <a:gd name="connsiteX4" fmla="*/ 3559620 w 7156079"/>
              <a:gd name="connsiteY4" fmla="*/ 0 h 2736950"/>
              <a:gd name="connsiteX5" fmla="*/ 4751259 w 7156079"/>
              <a:gd name="connsiteY5" fmla="*/ 698321 h 2736950"/>
              <a:gd name="connsiteX6" fmla="*/ 4760301 w 7156079"/>
              <a:gd name="connsiteY6" fmla="*/ 2052536 h 2736950"/>
              <a:gd name="connsiteX7" fmla="*/ 5954714 w 7156079"/>
              <a:gd name="connsiteY7" fmla="*/ 2736950 h 2736950"/>
              <a:gd name="connsiteX8" fmla="*/ 7156079 w 7156079"/>
              <a:gd name="connsiteY8" fmla="*/ 2069921 h 2736950"/>
              <a:gd name="connsiteX0" fmla="*/ 0 w 7156079"/>
              <a:gd name="connsiteY0" fmla="*/ 2052537 h 2736950"/>
              <a:gd name="connsiteX1" fmla="*/ 1183297 w 7156079"/>
              <a:gd name="connsiteY1" fmla="*/ 1361873 h 2736950"/>
              <a:gd name="connsiteX2" fmla="*/ 2372162 w 7156079"/>
              <a:gd name="connsiteY2" fmla="*/ 2043495 h 2736950"/>
              <a:gd name="connsiteX3" fmla="*/ 2371460 w 7156079"/>
              <a:gd name="connsiteY3" fmla="*/ 697619 h 2736950"/>
              <a:gd name="connsiteX4" fmla="*/ 3559620 w 7156079"/>
              <a:gd name="connsiteY4" fmla="*/ 0 h 2736950"/>
              <a:gd name="connsiteX5" fmla="*/ 4751259 w 7156079"/>
              <a:gd name="connsiteY5" fmla="*/ 698321 h 2736950"/>
              <a:gd name="connsiteX6" fmla="*/ 4742917 w 7156079"/>
              <a:gd name="connsiteY6" fmla="*/ 2052536 h 2736950"/>
              <a:gd name="connsiteX7" fmla="*/ 5954714 w 7156079"/>
              <a:gd name="connsiteY7" fmla="*/ 2736950 h 2736950"/>
              <a:gd name="connsiteX8" fmla="*/ 7156079 w 7156079"/>
              <a:gd name="connsiteY8" fmla="*/ 2069921 h 2736950"/>
              <a:gd name="connsiteX0" fmla="*/ 0 w 7135218"/>
              <a:gd name="connsiteY0" fmla="*/ 2052537 h 2736950"/>
              <a:gd name="connsiteX1" fmla="*/ 1183297 w 7135218"/>
              <a:gd name="connsiteY1" fmla="*/ 1361873 h 2736950"/>
              <a:gd name="connsiteX2" fmla="*/ 2372162 w 7135218"/>
              <a:gd name="connsiteY2" fmla="*/ 2043495 h 2736950"/>
              <a:gd name="connsiteX3" fmla="*/ 2371460 w 7135218"/>
              <a:gd name="connsiteY3" fmla="*/ 697619 h 2736950"/>
              <a:gd name="connsiteX4" fmla="*/ 3559620 w 7135218"/>
              <a:gd name="connsiteY4" fmla="*/ 0 h 2736950"/>
              <a:gd name="connsiteX5" fmla="*/ 4751259 w 7135218"/>
              <a:gd name="connsiteY5" fmla="*/ 698321 h 2736950"/>
              <a:gd name="connsiteX6" fmla="*/ 4742917 w 7135218"/>
              <a:gd name="connsiteY6" fmla="*/ 2052536 h 2736950"/>
              <a:gd name="connsiteX7" fmla="*/ 5954714 w 7135218"/>
              <a:gd name="connsiteY7" fmla="*/ 2736950 h 2736950"/>
              <a:gd name="connsiteX8" fmla="*/ 7135218 w 7135218"/>
              <a:gd name="connsiteY8" fmla="*/ 2056014 h 2736950"/>
              <a:gd name="connsiteX0" fmla="*/ 0 w 7124788"/>
              <a:gd name="connsiteY0" fmla="*/ 2052537 h 2736950"/>
              <a:gd name="connsiteX1" fmla="*/ 1183297 w 7124788"/>
              <a:gd name="connsiteY1" fmla="*/ 1361873 h 2736950"/>
              <a:gd name="connsiteX2" fmla="*/ 2372162 w 7124788"/>
              <a:gd name="connsiteY2" fmla="*/ 2043495 h 2736950"/>
              <a:gd name="connsiteX3" fmla="*/ 2371460 w 7124788"/>
              <a:gd name="connsiteY3" fmla="*/ 697619 h 2736950"/>
              <a:gd name="connsiteX4" fmla="*/ 3559620 w 7124788"/>
              <a:gd name="connsiteY4" fmla="*/ 0 h 2736950"/>
              <a:gd name="connsiteX5" fmla="*/ 4751259 w 7124788"/>
              <a:gd name="connsiteY5" fmla="*/ 698321 h 2736950"/>
              <a:gd name="connsiteX6" fmla="*/ 4742917 w 7124788"/>
              <a:gd name="connsiteY6" fmla="*/ 2052536 h 2736950"/>
              <a:gd name="connsiteX7" fmla="*/ 5954714 w 7124788"/>
              <a:gd name="connsiteY7" fmla="*/ 2736950 h 2736950"/>
              <a:gd name="connsiteX8" fmla="*/ 7124788 w 7124788"/>
              <a:gd name="connsiteY8" fmla="*/ 2045583 h 2736950"/>
              <a:gd name="connsiteX0" fmla="*/ 0 w 7135218"/>
              <a:gd name="connsiteY0" fmla="*/ 2052537 h 2736950"/>
              <a:gd name="connsiteX1" fmla="*/ 1183297 w 7135218"/>
              <a:gd name="connsiteY1" fmla="*/ 1361873 h 2736950"/>
              <a:gd name="connsiteX2" fmla="*/ 2372162 w 7135218"/>
              <a:gd name="connsiteY2" fmla="*/ 2043495 h 2736950"/>
              <a:gd name="connsiteX3" fmla="*/ 2371460 w 7135218"/>
              <a:gd name="connsiteY3" fmla="*/ 697619 h 2736950"/>
              <a:gd name="connsiteX4" fmla="*/ 3559620 w 7135218"/>
              <a:gd name="connsiteY4" fmla="*/ 0 h 2736950"/>
              <a:gd name="connsiteX5" fmla="*/ 4751259 w 7135218"/>
              <a:gd name="connsiteY5" fmla="*/ 698321 h 2736950"/>
              <a:gd name="connsiteX6" fmla="*/ 4742917 w 7135218"/>
              <a:gd name="connsiteY6" fmla="*/ 2052536 h 2736950"/>
              <a:gd name="connsiteX7" fmla="*/ 5954714 w 7135218"/>
              <a:gd name="connsiteY7" fmla="*/ 2736950 h 2736950"/>
              <a:gd name="connsiteX8" fmla="*/ 7135218 w 7135218"/>
              <a:gd name="connsiteY8" fmla="*/ 2052536 h 2736950"/>
              <a:gd name="connsiteX0" fmla="*/ 0 w 7135218"/>
              <a:gd name="connsiteY0" fmla="*/ 2052537 h 2736950"/>
              <a:gd name="connsiteX1" fmla="*/ 1183297 w 7135218"/>
              <a:gd name="connsiteY1" fmla="*/ 1361873 h 2736950"/>
              <a:gd name="connsiteX2" fmla="*/ 2376070 w 7135218"/>
              <a:gd name="connsiteY2" fmla="*/ 2055218 h 2736950"/>
              <a:gd name="connsiteX3" fmla="*/ 2371460 w 7135218"/>
              <a:gd name="connsiteY3" fmla="*/ 697619 h 2736950"/>
              <a:gd name="connsiteX4" fmla="*/ 3559620 w 7135218"/>
              <a:gd name="connsiteY4" fmla="*/ 0 h 2736950"/>
              <a:gd name="connsiteX5" fmla="*/ 4751259 w 7135218"/>
              <a:gd name="connsiteY5" fmla="*/ 698321 h 2736950"/>
              <a:gd name="connsiteX6" fmla="*/ 4742917 w 7135218"/>
              <a:gd name="connsiteY6" fmla="*/ 2052536 h 2736950"/>
              <a:gd name="connsiteX7" fmla="*/ 5954714 w 7135218"/>
              <a:gd name="connsiteY7" fmla="*/ 2736950 h 2736950"/>
              <a:gd name="connsiteX8" fmla="*/ 7135218 w 7135218"/>
              <a:gd name="connsiteY8" fmla="*/ 2052536 h 2736950"/>
              <a:gd name="connsiteX0" fmla="*/ 0 w 7135218"/>
              <a:gd name="connsiteY0" fmla="*/ 2067128 h 2736950"/>
              <a:gd name="connsiteX1" fmla="*/ 1183297 w 7135218"/>
              <a:gd name="connsiteY1" fmla="*/ 1361873 h 2736950"/>
              <a:gd name="connsiteX2" fmla="*/ 2376070 w 7135218"/>
              <a:gd name="connsiteY2" fmla="*/ 2055218 h 2736950"/>
              <a:gd name="connsiteX3" fmla="*/ 2371460 w 7135218"/>
              <a:gd name="connsiteY3" fmla="*/ 697619 h 2736950"/>
              <a:gd name="connsiteX4" fmla="*/ 3559620 w 7135218"/>
              <a:gd name="connsiteY4" fmla="*/ 0 h 2736950"/>
              <a:gd name="connsiteX5" fmla="*/ 4751259 w 7135218"/>
              <a:gd name="connsiteY5" fmla="*/ 698321 h 2736950"/>
              <a:gd name="connsiteX6" fmla="*/ 4742917 w 7135218"/>
              <a:gd name="connsiteY6" fmla="*/ 2052536 h 2736950"/>
              <a:gd name="connsiteX7" fmla="*/ 5954714 w 7135218"/>
              <a:gd name="connsiteY7" fmla="*/ 2736950 h 2736950"/>
              <a:gd name="connsiteX8" fmla="*/ 7135218 w 7135218"/>
              <a:gd name="connsiteY8" fmla="*/ 2052536 h 2736950"/>
              <a:gd name="connsiteX0" fmla="*/ 0 w 7159537"/>
              <a:gd name="connsiteY0" fmla="*/ 2062264 h 2736950"/>
              <a:gd name="connsiteX1" fmla="*/ 1207616 w 7159537"/>
              <a:gd name="connsiteY1" fmla="*/ 1361873 h 2736950"/>
              <a:gd name="connsiteX2" fmla="*/ 2400389 w 7159537"/>
              <a:gd name="connsiteY2" fmla="*/ 2055218 h 2736950"/>
              <a:gd name="connsiteX3" fmla="*/ 2395779 w 7159537"/>
              <a:gd name="connsiteY3" fmla="*/ 697619 h 2736950"/>
              <a:gd name="connsiteX4" fmla="*/ 3583939 w 7159537"/>
              <a:gd name="connsiteY4" fmla="*/ 0 h 2736950"/>
              <a:gd name="connsiteX5" fmla="*/ 4775578 w 7159537"/>
              <a:gd name="connsiteY5" fmla="*/ 698321 h 2736950"/>
              <a:gd name="connsiteX6" fmla="*/ 4767236 w 7159537"/>
              <a:gd name="connsiteY6" fmla="*/ 2052536 h 2736950"/>
              <a:gd name="connsiteX7" fmla="*/ 5979033 w 7159537"/>
              <a:gd name="connsiteY7" fmla="*/ 2736950 h 2736950"/>
              <a:gd name="connsiteX8" fmla="*/ 7159537 w 7159537"/>
              <a:gd name="connsiteY8" fmla="*/ 2052536 h 2736950"/>
              <a:gd name="connsiteX0" fmla="*/ 0 w 7149809"/>
              <a:gd name="connsiteY0" fmla="*/ 2071991 h 2736950"/>
              <a:gd name="connsiteX1" fmla="*/ 1197888 w 7149809"/>
              <a:gd name="connsiteY1" fmla="*/ 1361873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222208 w 7149809"/>
              <a:gd name="connsiteY1" fmla="*/ 1357009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217344 w 7149809"/>
              <a:gd name="connsiteY1" fmla="*/ 137646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217344 w 7149809"/>
              <a:gd name="connsiteY1" fmla="*/ 137646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212480 w 7149809"/>
              <a:gd name="connsiteY1" fmla="*/ 137646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212480 w 7149809"/>
              <a:gd name="connsiteY1" fmla="*/ 137646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6585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5823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70930 w 7149809"/>
              <a:gd name="connsiteY5" fmla="*/ 698321 h 2736950"/>
              <a:gd name="connsiteX6" fmla="*/ 4757508 w 7149809"/>
              <a:gd name="connsiteY6" fmla="*/ 205253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49809"/>
              <a:gd name="connsiteY0" fmla="*/ 2071991 h 2736950"/>
              <a:gd name="connsiteX1" fmla="*/ 1194700 w 7149809"/>
              <a:gd name="connsiteY1" fmla="*/ 1371385 h 2736950"/>
              <a:gd name="connsiteX2" fmla="*/ 2390661 w 7149809"/>
              <a:gd name="connsiteY2" fmla="*/ 2055218 h 2736950"/>
              <a:gd name="connsiteX3" fmla="*/ 2386051 w 7149809"/>
              <a:gd name="connsiteY3" fmla="*/ 697619 h 2736950"/>
              <a:gd name="connsiteX4" fmla="*/ 3574211 w 7149809"/>
              <a:gd name="connsiteY4" fmla="*/ 0 h 2736950"/>
              <a:gd name="connsiteX5" fmla="*/ 4770930 w 7149809"/>
              <a:gd name="connsiteY5" fmla="*/ 698321 h 2736950"/>
              <a:gd name="connsiteX6" fmla="*/ 4757508 w 7149809"/>
              <a:gd name="connsiteY6" fmla="*/ 2047456 h 2736950"/>
              <a:gd name="connsiteX7" fmla="*/ 5969305 w 7149809"/>
              <a:gd name="connsiteY7" fmla="*/ 2736950 h 2736950"/>
              <a:gd name="connsiteX8" fmla="*/ 7149809 w 7149809"/>
              <a:gd name="connsiteY8" fmla="*/ 2052536 h 2736950"/>
              <a:gd name="connsiteX0" fmla="*/ 0 w 7152768"/>
              <a:gd name="connsiteY0" fmla="*/ 2063113 h 2736950"/>
              <a:gd name="connsiteX1" fmla="*/ 1197659 w 7152768"/>
              <a:gd name="connsiteY1" fmla="*/ 1371385 h 2736950"/>
              <a:gd name="connsiteX2" fmla="*/ 2393620 w 7152768"/>
              <a:gd name="connsiteY2" fmla="*/ 2055218 h 2736950"/>
              <a:gd name="connsiteX3" fmla="*/ 2389010 w 7152768"/>
              <a:gd name="connsiteY3" fmla="*/ 697619 h 2736950"/>
              <a:gd name="connsiteX4" fmla="*/ 3577170 w 7152768"/>
              <a:gd name="connsiteY4" fmla="*/ 0 h 2736950"/>
              <a:gd name="connsiteX5" fmla="*/ 4773889 w 7152768"/>
              <a:gd name="connsiteY5" fmla="*/ 698321 h 2736950"/>
              <a:gd name="connsiteX6" fmla="*/ 4760467 w 7152768"/>
              <a:gd name="connsiteY6" fmla="*/ 2047456 h 2736950"/>
              <a:gd name="connsiteX7" fmla="*/ 5972264 w 7152768"/>
              <a:gd name="connsiteY7" fmla="*/ 2736950 h 2736950"/>
              <a:gd name="connsiteX8" fmla="*/ 7152768 w 7152768"/>
              <a:gd name="connsiteY8" fmla="*/ 2052536 h 2736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52768" h="2736950">
                <a:moveTo>
                  <a:pt x="0" y="2063113"/>
                </a:moveTo>
                <a:cubicBezTo>
                  <a:pt x="405781" y="1831271"/>
                  <a:pt x="752967" y="1616359"/>
                  <a:pt x="1197659" y="1371385"/>
                </a:cubicBezTo>
                <a:lnTo>
                  <a:pt x="2393620" y="2055218"/>
                </a:lnTo>
                <a:cubicBezTo>
                  <a:pt x="2396863" y="1599639"/>
                  <a:pt x="2385767" y="1153198"/>
                  <a:pt x="2389010" y="697619"/>
                </a:cubicBezTo>
                <a:lnTo>
                  <a:pt x="3577170" y="0"/>
                </a:lnTo>
                <a:lnTo>
                  <a:pt x="4773889" y="698321"/>
                </a:lnTo>
                <a:cubicBezTo>
                  <a:pt x="4772268" y="1155521"/>
                  <a:pt x="4762088" y="1590256"/>
                  <a:pt x="4760467" y="2047456"/>
                </a:cubicBezTo>
                <a:lnTo>
                  <a:pt x="5972264" y="2736950"/>
                </a:lnTo>
                <a:lnTo>
                  <a:pt x="7152768" y="2052536"/>
                </a:lnTo>
              </a:path>
            </a:pathLst>
          </a:custGeom>
          <a:noFill/>
          <a:ln w="38100" cap="flat" cmpd="sng" algn="ctr">
            <a:gradFill flip="none" rotWithShape="1">
              <a:gsLst>
                <a:gs pos="38000">
                  <a:srgbClr val="E95174"/>
                </a:gs>
                <a:gs pos="100000">
                  <a:srgbClr val="00E0D0"/>
                </a:gs>
              </a:gsLst>
              <a:lin ang="0" scaled="1"/>
              <a:tileRect/>
            </a:gra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2" name="Freeform: Shape 31">
            <a:extLst>
              <a:ext uri="{FF2B5EF4-FFF2-40B4-BE49-F238E27FC236}">
                <a16:creationId xmlns:a16="http://schemas.microsoft.com/office/drawing/2014/main" id="{274DD645-8640-45D5-9B60-F31EC01D3CC0}"/>
              </a:ext>
            </a:extLst>
          </p:cNvPr>
          <p:cNvSpPr/>
          <p:nvPr userDrawn="1"/>
        </p:nvSpPr>
        <p:spPr>
          <a:xfrm>
            <a:off x="8412404" y="1667950"/>
            <a:ext cx="2373549" cy="2062264"/>
          </a:xfrm>
          <a:custGeom>
            <a:avLst/>
            <a:gdLst>
              <a:gd name="connsiteX0" fmla="*/ 2373549 w 2373549"/>
              <a:gd name="connsiteY0" fmla="*/ 680936 h 2062264"/>
              <a:gd name="connsiteX1" fmla="*/ 1186774 w 2373549"/>
              <a:gd name="connsiteY1" fmla="*/ 0 h 2062264"/>
              <a:gd name="connsiteX2" fmla="*/ 0 w 2373549"/>
              <a:gd name="connsiteY2" fmla="*/ 690664 h 2062264"/>
              <a:gd name="connsiteX3" fmla="*/ 0 w 2373549"/>
              <a:gd name="connsiteY3" fmla="*/ 2062264 h 2062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3549" h="2062264">
                <a:moveTo>
                  <a:pt x="2373549" y="680936"/>
                </a:moveTo>
                <a:lnTo>
                  <a:pt x="1186774" y="0"/>
                </a:lnTo>
                <a:lnTo>
                  <a:pt x="0" y="690664"/>
                </a:lnTo>
                <a:lnTo>
                  <a:pt x="0" y="2062264"/>
                </a:lnTo>
              </a:path>
            </a:pathLst>
          </a:custGeom>
          <a:noFill/>
          <a:ln w="38100" cap="flat" cmpd="sng" algn="ctr">
            <a:gradFill>
              <a:gsLst>
                <a:gs pos="100000">
                  <a:srgbClr val="4BBBC4"/>
                </a:gs>
                <a:gs pos="20000">
                  <a:srgbClr val="53FFF3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3" name="Freeform: Shape 34">
            <a:extLst>
              <a:ext uri="{FF2B5EF4-FFF2-40B4-BE49-F238E27FC236}">
                <a16:creationId xmlns:a16="http://schemas.microsoft.com/office/drawing/2014/main" id="{71C09F09-7119-47FD-8E60-E4A92C9A3119}"/>
              </a:ext>
            </a:extLst>
          </p:cNvPr>
          <p:cNvSpPr/>
          <p:nvPr userDrawn="1"/>
        </p:nvSpPr>
        <p:spPr>
          <a:xfrm flipH="1">
            <a:off x="10715501" y="2243467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4" name="Freeform: Shape 45">
            <a:extLst>
              <a:ext uri="{FF2B5EF4-FFF2-40B4-BE49-F238E27FC236}">
                <a16:creationId xmlns:a16="http://schemas.microsoft.com/office/drawing/2014/main" id="{E99BCE04-19B9-4541-925F-AC59CF760E7F}"/>
              </a:ext>
            </a:extLst>
          </p:cNvPr>
          <p:cNvSpPr/>
          <p:nvPr userDrawn="1"/>
        </p:nvSpPr>
        <p:spPr>
          <a:xfrm flipH="1">
            <a:off x="9534557" y="1571099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5" name="Freeform: Shape 46">
            <a:extLst>
              <a:ext uri="{FF2B5EF4-FFF2-40B4-BE49-F238E27FC236}">
                <a16:creationId xmlns:a16="http://schemas.microsoft.com/office/drawing/2014/main" id="{F2B610BB-26F6-44A5-B7DB-CEEDCAE916ED}"/>
              </a:ext>
            </a:extLst>
          </p:cNvPr>
          <p:cNvSpPr/>
          <p:nvPr userDrawn="1"/>
        </p:nvSpPr>
        <p:spPr>
          <a:xfrm flipH="1">
            <a:off x="8328171" y="2258376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6" name="Freeform: Shape 47">
            <a:extLst>
              <a:ext uri="{FF2B5EF4-FFF2-40B4-BE49-F238E27FC236}">
                <a16:creationId xmlns:a16="http://schemas.microsoft.com/office/drawing/2014/main" id="{C979636C-DE09-47B7-8972-BAE28DFA91DF}"/>
              </a:ext>
            </a:extLst>
          </p:cNvPr>
          <p:cNvSpPr/>
          <p:nvPr userDrawn="1"/>
        </p:nvSpPr>
        <p:spPr>
          <a:xfrm flipH="1">
            <a:off x="8333460" y="3610854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7" name="Freeform: Shape 48">
            <a:extLst>
              <a:ext uri="{FF2B5EF4-FFF2-40B4-BE49-F238E27FC236}">
                <a16:creationId xmlns:a16="http://schemas.microsoft.com/office/drawing/2014/main" id="{01B12467-C508-4D89-94B3-6D23C6199703}"/>
              </a:ext>
            </a:extLst>
          </p:cNvPr>
          <p:cNvSpPr/>
          <p:nvPr userDrawn="1"/>
        </p:nvSpPr>
        <p:spPr>
          <a:xfrm flipH="1">
            <a:off x="7146016" y="4290860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8" name="Freeform: Shape 49">
            <a:extLst>
              <a:ext uri="{FF2B5EF4-FFF2-40B4-BE49-F238E27FC236}">
                <a16:creationId xmlns:a16="http://schemas.microsoft.com/office/drawing/2014/main" id="{9EA72422-90A8-454F-8133-112CD2B85BEA}"/>
              </a:ext>
            </a:extLst>
          </p:cNvPr>
          <p:cNvSpPr/>
          <p:nvPr userDrawn="1"/>
        </p:nvSpPr>
        <p:spPr>
          <a:xfrm flipH="1">
            <a:off x="5937847" y="3613390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79" name="Freeform: Shape 50">
            <a:extLst>
              <a:ext uri="{FF2B5EF4-FFF2-40B4-BE49-F238E27FC236}">
                <a16:creationId xmlns:a16="http://schemas.microsoft.com/office/drawing/2014/main" id="{3C67727D-D0D9-4CA6-99EE-0B89D465A706}"/>
              </a:ext>
            </a:extLst>
          </p:cNvPr>
          <p:cNvSpPr/>
          <p:nvPr userDrawn="1"/>
        </p:nvSpPr>
        <p:spPr>
          <a:xfrm flipH="1">
            <a:off x="5951993" y="2251300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0" name="Freeform: Shape 51">
            <a:extLst>
              <a:ext uri="{FF2B5EF4-FFF2-40B4-BE49-F238E27FC236}">
                <a16:creationId xmlns:a16="http://schemas.microsoft.com/office/drawing/2014/main" id="{C88A67D0-B01F-4CC8-B248-2CF85911F456}"/>
              </a:ext>
            </a:extLst>
          </p:cNvPr>
          <p:cNvSpPr/>
          <p:nvPr userDrawn="1"/>
        </p:nvSpPr>
        <p:spPr>
          <a:xfrm flipH="1">
            <a:off x="4778156" y="1565771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1" name="Freeform: Shape 52">
            <a:extLst>
              <a:ext uri="{FF2B5EF4-FFF2-40B4-BE49-F238E27FC236}">
                <a16:creationId xmlns:a16="http://schemas.microsoft.com/office/drawing/2014/main" id="{DBF6CA39-E979-4287-833E-20A9B455F7D6}"/>
              </a:ext>
            </a:extLst>
          </p:cNvPr>
          <p:cNvSpPr/>
          <p:nvPr userDrawn="1"/>
        </p:nvSpPr>
        <p:spPr>
          <a:xfrm flipH="1">
            <a:off x="3565843" y="2247823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2" name="Freeform: Shape 53">
            <a:extLst>
              <a:ext uri="{FF2B5EF4-FFF2-40B4-BE49-F238E27FC236}">
                <a16:creationId xmlns:a16="http://schemas.microsoft.com/office/drawing/2014/main" id="{9EAA4E60-7510-4920-A426-5630491CFAC2}"/>
              </a:ext>
            </a:extLst>
          </p:cNvPr>
          <p:cNvSpPr/>
          <p:nvPr userDrawn="1"/>
        </p:nvSpPr>
        <p:spPr>
          <a:xfrm flipH="1">
            <a:off x="3565952" y="3613390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3" name="Freeform: Shape 54">
            <a:extLst>
              <a:ext uri="{FF2B5EF4-FFF2-40B4-BE49-F238E27FC236}">
                <a16:creationId xmlns:a16="http://schemas.microsoft.com/office/drawing/2014/main" id="{322F7ECD-1942-42EE-B5E0-FC1E0206BFFD}"/>
              </a:ext>
            </a:extLst>
          </p:cNvPr>
          <p:cNvSpPr/>
          <p:nvPr userDrawn="1"/>
        </p:nvSpPr>
        <p:spPr>
          <a:xfrm flipH="1">
            <a:off x="2386318" y="2962784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4" name="Freeform: Shape 55">
            <a:extLst>
              <a:ext uri="{FF2B5EF4-FFF2-40B4-BE49-F238E27FC236}">
                <a16:creationId xmlns:a16="http://schemas.microsoft.com/office/drawing/2014/main" id="{2465D6BD-72DA-4C13-97C2-7CF8D7F2F0C4}"/>
              </a:ext>
            </a:extLst>
          </p:cNvPr>
          <p:cNvSpPr/>
          <p:nvPr userDrawn="1"/>
        </p:nvSpPr>
        <p:spPr>
          <a:xfrm flipH="1">
            <a:off x="1190302" y="3612210"/>
            <a:ext cx="204312" cy="236468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85" name="Content placeholder 47" descr="Click icon to add picture">
            <a:extLst>
              <a:ext uri="{FF2B5EF4-FFF2-40B4-BE49-F238E27FC236}">
                <a16:creationId xmlns:a16="http://schemas.microsoft.com/office/drawing/2014/main" id="{E7C6BEEA-1766-44A1-A28D-2E817DBF226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07136" y="3865003"/>
            <a:ext cx="1877575" cy="506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86" name="Content placeholder 47">
            <a:extLst>
              <a:ext uri="{FF2B5EF4-FFF2-40B4-BE49-F238E27FC236}">
                <a16:creationId xmlns:a16="http://schemas.microsoft.com/office/drawing/2014/main" id="{597D4D7A-8D7E-492C-8795-D491CF53B5F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07136" y="4447079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lang="en-US" altLang="zh-CN" sz="1400" b="0" kern="1200" dirty="0">
                <a:solidFill>
                  <a:schemeClr val="accent6"/>
                </a:solidFill>
                <a:latin typeface="+mn-lt"/>
                <a:ea typeface="+mj-ea"/>
                <a:cs typeface="+mn-cs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87" name="Content placeholder 47" descr="Click icon to add picture">
            <a:extLst>
              <a:ext uri="{FF2B5EF4-FFF2-40B4-BE49-F238E27FC236}">
                <a16:creationId xmlns:a16="http://schemas.microsoft.com/office/drawing/2014/main" id="{A7396594-2DE7-4DB9-B6B4-92F63F06EFC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89942" y="2355643"/>
            <a:ext cx="1877575" cy="506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88" name="Content placeholder 47">
            <a:extLst>
              <a:ext uri="{FF2B5EF4-FFF2-40B4-BE49-F238E27FC236}">
                <a16:creationId xmlns:a16="http://schemas.microsoft.com/office/drawing/2014/main" id="{CC680CF7-ED60-4FFF-B04E-B24ECDDD351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89942" y="2937719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altLang="zh-CN" sz="1400" b="0" kern="1200" dirty="0">
                <a:solidFill>
                  <a:schemeClr val="accent6"/>
                </a:solidFill>
                <a:latin typeface="+mn-lt"/>
                <a:ea typeface="+mj-ea"/>
                <a:cs typeface="+mn-cs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89" name="Content placeholder 47" descr="Click icon to add picture">
            <a:extLst>
              <a:ext uri="{FF2B5EF4-FFF2-40B4-BE49-F238E27FC236}">
                <a16:creationId xmlns:a16="http://schemas.microsoft.com/office/drawing/2014/main" id="{042E6E66-3835-45DF-80D9-C4AFDF3401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07230" y="4469081"/>
            <a:ext cx="1877575" cy="506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90" name="Content placeholder 47">
            <a:extLst>
              <a:ext uri="{FF2B5EF4-FFF2-40B4-BE49-F238E27FC236}">
                <a16:creationId xmlns:a16="http://schemas.microsoft.com/office/drawing/2014/main" id="{A6E85C70-1784-4A0C-8897-EDE98D39BC0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107230" y="5051157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lang="en-US" altLang="zh-CN" sz="1400" b="0" kern="1200" dirty="0">
                <a:solidFill>
                  <a:schemeClr val="accent6"/>
                </a:solidFill>
                <a:latin typeface="+mn-lt"/>
                <a:ea typeface="+mj-ea"/>
                <a:cs typeface="+mn-cs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91" name="Content placeholder 47" descr="Click icon to add picture">
            <a:extLst>
              <a:ext uri="{FF2B5EF4-FFF2-40B4-BE49-F238E27FC236}">
                <a16:creationId xmlns:a16="http://schemas.microsoft.com/office/drawing/2014/main" id="{4CD55BC2-05D0-49CB-B0A5-C96ACB411B5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501941" y="4469081"/>
            <a:ext cx="1877575" cy="506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92" name="Content placeholder 47">
            <a:extLst>
              <a:ext uri="{FF2B5EF4-FFF2-40B4-BE49-F238E27FC236}">
                <a16:creationId xmlns:a16="http://schemas.microsoft.com/office/drawing/2014/main" id="{49DB7120-2F2C-4F89-AA8C-ABC4F3FF25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01941" y="5051157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lang="en-US" altLang="zh-CN" sz="1400" b="0" kern="1200" dirty="0">
                <a:solidFill>
                  <a:schemeClr val="accent6"/>
                </a:solidFill>
                <a:latin typeface="+mn-lt"/>
                <a:ea typeface="+mj-ea"/>
                <a:cs typeface="+mn-cs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93" name="Content placeholder 47" descr="Click icon to add picture">
            <a:extLst>
              <a:ext uri="{FF2B5EF4-FFF2-40B4-BE49-F238E27FC236}">
                <a16:creationId xmlns:a16="http://schemas.microsoft.com/office/drawing/2014/main" id="{AEB1F7BA-7D83-4C23-A72B-82DF9377E9C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734718" y="2355643"/>
            <a:ext cx="1877575" cy="506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94" name="Content placeholder 47">
            <a:extLst>
              <a:ext uri="{FF2B5EF4-FFF2-40B4-BE49-F238E27FC236}">
                <a16:creationId xmlns:a16="http://schemas.microsoft.com/office/drawing/2014/main" id="{7C32F3EB-1AC3-40E9-B66D-ADB19CC74F0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734718" y="2937719"/>
            <a:ext cx="1877575" cy="506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lang="en-US" altLang="zh-CN" sz="1400" b="0" kern="1200" dirty="0">
                <a:solidFill>
                  <a:schemeClr val="accent6"/>
                </a:solidFill>
                <a:latin typeface="+mn-lt"/>
                <a:ea typeface="+mj-ea"/>
                <a:cs typeface="+mn-cs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altLang="zh-CN" dirty="0"/>
              <a:t>Click to edit Master text styles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7E7569-B8BF-39D0-D742-EF98B83E4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914" y="906413"/>
            <a:ext cx="10515600" cy="1025350"/>
          </a:xfrm>
        </p:spPr>
        <p:txBody>
          <a:bodyPr anchor="ctr">
            <a:noAutofit/>
          </a:bodyPr>
          <a:lstStyle>
            <a:lvl1pPr algn="l"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8809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19">
            <a:extLst>
              <a:ext uri="{FF2B5EF4-FFF2-40B4-BE49-F238E27FC236}">
                <a16:creationId xmlns:a16="http://schemas.microsoft.com/office/drawing/2014/main" id="{F38B75F8-75D4-4B41-B7C7-433032DD0A6F}"/>
              </a:ext>
            </a:extLst>
          </p:cNvPr>
          <p:cNvSpPr/>
          <p:nvPr userDrawn="1"/>
        </p:nvSpPr>
        <p:spPr>
          <a:xfrm flipH="1">
            <a:off x="858002" y="832297"/>
            <a:ext cx="1886361" cy="221318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8" name="Freeform: Shape 24">
            <a:extLst>
              <a:ext uri="{FF2B5EF4-FFF2-40B4-BE49-F238E27FC236}">
                <a16:creationId xmlns:a16="http://schemas.microsoft.com/office/drawing/2014/main" id="{671D1224-EDDC-4900-92DC-13608D44C524}"/>
              </a:ext>
            </a:extLst>
          </p:cNvPr>
          <p:cNvSpPr/>
          <p:nvPr userDrawn="1"/>
        </p:nvSpPr>
        <p:spPr>
          <a:xfrm flipH="1">
            <a:off x="871857" y="4399101"/>
            <a:ext cx="1886359" cy="221318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635A9E44-4E60-1AD1-0B85-72422683B48A}"/>
              </a:ext>
            </a:extLst>
          </p:cNvPr>
          <p:cNvSpPr/>
          <p:nvPr userDrawn="1"/>
        </p:nvSpPr>
        <p:spPr>
          <a:xfrm flipH="1">
            <a:off x="7432" y="4051189"/>
            <a:ext cx="1157948" cy="1502830"/>
          </a:xfrm>
          <a:custGeom>
            <a:avLst/>
            <a:gdLst>
              <a:gd name="connsiteX0" fmla="*/ 638572 w 1157948"/>
              <a:gd name="connsiteY0" fmla="*/ 0 h 1502830"/>
              <a:gd name="connsiteX1" fmla="*/ 0 w 1157948"/>
              <a:gd name="connsiteY1" fmla="*/ 378385 h 1502830"/>
              <a:gd name="connsiteX2" fmla="*/ 0 w 1157948"/>
              <a:gd name="connsiteY2" fmla="*/ 1129800 h 1502830"/>
              <a:gd name="connsiteX3" fmla="*/ 640317 w 1157948"/>
              <a:gd name="connsiteY3" fmla="*/ 1502830 h 1502830"/>
              <a:gd name="connsiteX4" fmla="*/ 1157948 w 1157948"/>
              <a:gd name="connsiteY4" fmla="*/ 1200968 h 1502830"/>
              <a:gd name="connsiteX5" fmla="*/ 1157948 w 1157948"/>
              <a:gd name="connsiteY5" fmla="*/ 304639 h 1502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7948" h="1502830">
                <a:moveTo>
                  <a:pt x="638572" y="0"/>
                </a:moveTo>
                <a:lnTo>
                  <a:pt x="0" y="378385"/>
                </a:lnTo>
                <a:lnTo>
                  <a:pt x="0" y="1129800"/>
                </a:lnTo>
                <a:lnTo>
                  <a:pt x="640317" y="1502830"/>
                </a:lnTo>
                <a:lnTo>
                  <a:pt x="1157948" y="1200968"/>
                </a:lnTo>
                <a:lnTo>
                  <a:pt x="1157948" y="304639"/>
                </a:lnTo>
                <a:close/>
              </a:path>
            </a:pathLst>
          </a:cu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1" name="Subtitle 47" descr="Click icon to add picture">
            <a:extLst>
              <a:ext uri="{FF2B5EF4-FFF2-40B4-BE49-F238E27FC236}">
                <a16:creationId xmlns:a16="http://schemas.microsoft.com/office/drawing/2014/main" id="{0C7786BA-5E56-47AA-AE47-4EC07A0D4F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50704" y="2914631"/>
            <a:ext cx="3211535" cy="58796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3" name="Content placeholder 47">
            <a:extLst>
              <a:ext uri="{FF2B5EF4-FFF2-40B4-BE49-F238E27FC236}">
                <a16:creationId xmlns:a16="http://schemas.microsoft.com/office/drawing/2014/main" id="{880214CF-87DD-476A-9B2E-A58DB313A61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50704" y="3535549"/>
            <a:ext cx="3211535" cy="17271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37" name="Picture placeholder">
            <a:extLst>
              <a:ext uri="{FF2B5EF4-FFF2-40B4-BE49-F238E27FC236}">
                <a16:creationId xmlns:a16="http://schemas.microsoft.com/office/drawing/2014/main" id="{264CF63C-079E-41AA-AA9A-762A765E699F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876882" y="2637322"/>
            <a:ext cx="1886360" cy="2144668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041C638-CBB8-1159-9AF8-B5D14CC7B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0704" y="1264158"/>
            <a:ext cx="6599429" cy="1325563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8" name="Subtitle 47" descr="Click icon to add picture">
            <a:extLst>
              <a:ext uri="{FF2B5EF4-FFF2-40B4-BE49-F238E27FC236}">
                <a16:creationId xmlns:a16="http://schemas.microsoft.com/office/drawing/2014/main" id="{3C2C4001-E56F-4174-01AA-4630360BFF4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974065" y="2914631"/>
            <a:ext cx="3211535" cy="58796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0" name="Content placeholder 47">
            <a:extLst>
              <a:ext uri="{FF2B5EF4-FFF2-40B4-BE49-F238E27FC236}">
                <a16:creationId xmlns:a16="http://schemas.microsoft.com/office/drawing/2014/main" id="{02DFC856-C546-62E9-220F-7A668D34905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74065" y="3535549"/>
            <a:ext cx="3211535" cy="17271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</p:spTree>
    <p:extLst>
      <p:ext uri="{BB962C8B-B14F-4D97-AF65-F5344CB8AC3E}">
        <p14:creationId xmlns:p14="http://schemas.microsoft.com/office/powerpoint/2010/main" val="36136463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F946AB17-3782-8412-C51A-DE10A0637453}"/>
              </a:ext>
            </a:extLst>
          </p:cNvPr>
          <p:cNvSpPr/>
          <p:nvPr userDrawn="1"/>
        </p:nvSpPr>
        <p:spPr>
          <a:xfrm>
            <a:off x="0" y="2860787"/>
            <a:ext cx="2361029" cy="3676532"/>
          </a:xfrm>
          <a:custGeom>
            <a:avLst/>
            <a:gdLst>
              <a:gd name="connsiteX0" fmla="*/ 773997 w 2361029"/>
              <a:gd name="connsiteY0" fmla="*/ 0 h 3676532"/>
              <a:gd name="connsiteX1" fmla="*/ 2361029 w 2361029"/>
              <a:gd name="connsiteY1" fmla="*/ 925683 h 3676532"/>
              <a:gd name="connsiteX2" fmla="*/ 2361029 w 2361029"/>
              <a:gd name="connsiteY2" fmla="*/ 2763949 h 3676532"/>
              <a:gd name="connsiteX3" fmla="*/ 769661 w 2361029"/>
              <a:gd name="connsiteY3" fmla="*/ 3676532 h 3676532"/>
              <a:gd name="connsiteX4" fmla="*/ 0 w 2361029"/>
              <a:gd name="connsiteY4" fmla="*/ 3234717 h 3676532"/>
              <a:gd name="connsiteX5" fmla="*/ 0 w 2361029"/>
              <a:gd name="connsiteY5" fmla="*/ 446885 h 3676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61029" h="3676532">
                <a:moveTo>
                  <a:pt x="773997" y="0"/>
                </a:moveTo>
                <a:lnTo>
                  <a:pt x="2361029" y="925683"/>
                </a:lnTo>
                <a:lnTo>
                  <a:pt x="2361029" y="2763949"/>
                </a:lnTo>
                <a:lnTo>
                  <a:pt x="769661" y="3676532"/>
                </a:lnTo>
                <a:lnTo>
                  <a:pt x="0" y="3234717"/>
                </a:lnTo>
                <a:lnTo>
                  <a:pt x="0" y="446885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2BA5A58B-9440-7DAB-E7D7-3143B049FBAC}"/>
              </a:ext>
            </a:extLst>
          </p:cNvPr>
          <p:cNvSpPr/>
          <p:nvPr userDrawn="1"/>
        </p:nvSpPr>
        <p:spPr>
          <a:xfrm flipH="1">
            <a:off x="1014233" y="5253270"/>
            <a:ext cx="1710765" cy="1593273"/>
          </a:xfrm>
          <a:custGeom>
            <a:avLst/>
            <a:gdLst>
              <a:gd name="connsiteX0" fmla="*/ 852873 w 1710765"/>
              <a:gd name="connsiteY0" fmla="*/ 0 h 1593273"/>
              <a:gd name="connsiteX1" fmla="*/ 0 w 1710765"/>
              <a:gd name="connsiteY1" fmla="*/ 494134 h 1593273"/>
              <a:gd name="connsiteX2" fmla="*/ 0 w 1710765"/>
              <a:gd name="connsiteY2" fmla="*/ 1475410 h 1593273"/>
              <a:gd name="connsiteX3" fmla="*/ 206916 w 1710765"/>
              <a:gd name="connsiteY3" fmla="*/ 1593273 h 1593273"/>
              <a:gd name="connsiteX4" fmla="*/ 1502835 w 1710765"/>
              <a:gd name="connsiteY4" fmla="*/ 1593273 h 1593273"/>
              <a:gd name="connsiteX5" fmla="*/ 1709418 w 1710765"/>
              <a:gd name="connsiteY5" fmla="*/ 1475480 h 1593273"/>
              <a:gd name="connsiteX6" fmla="*/ 1710407 w 1710765"/>
              <a:gd name="connsiteY6" fmla="*/ 491803 h 1593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10765" h="1593273">
                <a:moveTo>
                  <a:pt x="852873" y="0"/>
                </a:moveTo>
                <a:lnTo>
                  <a:pt x="0" y="494134"/>
                </a:lnTo>
                <a:lnTo>
                  <a:pt x="0" y="1475410"/>
                </a:lnTo>
                <a:lnTo>
                  <a:pt x="206916" y="1593273"/>
                </a:lnTo>
                <a:lnTo>
                  <a:pt x="1502835" y="1593273"/>
                </a:lnTo>
                <a:lnTo>
                  <a:pt x="1709418" y="1475480"/>
                </a:lnTo>
                <a:cubicBezTo>
                  <a:pt x="1707864" y="1146834"/>
                  <a:pt x="1711961" y="820449"/>
                  <a:pt x="1710407" y="491803"/>
                </a:cubicBezTo>
                <a:close/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2" name="Content Placeholder 47" descr="Click icon to add picture">
            <a:extLst>
              <a:ext uri="{FF2B5EF4-FFF2-40B4-BE49-F238E27FC236}">
                <a16:creationId xmlns:a16="http://schemas.microsoft.com/office/drawing/2014/main" id="{95ADF367-2619-4E00-AB82-8FFF41D0E5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7449" y="1238596"/>
            <a:ext cx="5162709" cy="42068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3" name="Content Placeholder 47">
            <a:extLst>
              <a:ext uri="{FF2B5EF4-FFF2-40B4-BE49-F238E27FC236}">
                <a16:creationId xmlns:a16="http://schemas.microsoft.com/office/drawing/2014/main" id="{8CEB04CE-793E-47B4-8D80-9B82864F2C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7448" y="1682429"/>
            <a:ext cx="5162709" cy="12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24" name="Content Placeholder 47" descr="Click icon to add picture">
            <a:extLst>
              <a:ext uri="{FF2B5EF4-FFF2-40B4-BE49-F238E27FC236}">
                <a16:creationId xmlns:a16="http://schemas.microsoft.com/office/drawing/2014/main" id="{067BF8FD-2643-4122-BE3E-63F413244EC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77449" y="2994845"/>
            <a:ext cx="5162709" cy="42068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6" name="Content Placeholder 47" descr="Click icon to add picture">
            <a:extLst>
              <a:ext uri="{FF2B5EF4-FFF2-40B4-BE49-F238E27FC236}">
                <a16:creationId xmlns:a16="http://schemas.microsoft.com/office/drawing/2014/main" id="{02260D10-FEA1-48A7-B544-FAEEAECF5D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7447" y="4739713"/>
            <a:ext cx="5162709" cy="42139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accent6"/>
                </a:solidFill>
                <a:latin typeface="+mn-lt"/>
                <a:cs typeface="Posterama" panose="020B0504020200020000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0" name="Content Placeholder 47">
            <a:extLst>
              <a:ext uri="{FF2B5EF4-FFF2-40B4-BE49-F238E27FC236}">
                <a16:creationId xmlns:a16="http://schemas.microsoft.com/office/drawing/2014/main" id="{64584B30-8BCF-4D75-8A6C-FD82347CC7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77448" y="3429844"/>
            <a:ext cx="5162709" cy="12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28" name="Content Placeholder 47">
            <a:extLst>
              <a:ext uri="{FF2B5EF4-FFF2-40B4-BE49-F238E27FC236}">
                <a16:creationId xmlns:a16="http://schemas.microsoft.com/office/drawing/2014/main" id="{A4A25056-27FA-4039-ACFA-6624F778712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77448" y="5184162"/>
            <a:ext cx="5162709" cy="12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27" name="Freeform: Shape 24">
            <a:extLst>
              <a:ext uri="{FF2B5EF4-FFF2-40B4-BE49-F238E27FC236}">
                <a16:creationId xmlns:a16="http://schemas.microsoft.com/office/drawing/2014/main" id="{A23F9759-CF52-CE45-5E22-9678534685A7}"/>
              </a:ext>
            </a:extLst>
          </p:cNvPr>
          <p:cNvSpPr/>
          <p:nvPr userDrawn="1"/>
        </p:nvSpPr>
        <p:spPr>
          <a:xfrm flipH="1">
            <a:off x="2631891" y="4699053"/>
            <a:ext cx="668814" cy="784693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D84FCC1-368D-680C-31AA-597C3AAF4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5" y="907575"/>
            <a:ext cx="4445255" cy="2077109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E53E8C9F-CD73-30CD-1F24-20F2E6149D58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744791" y="1711618"/>
            <a:ext cx="507778" cy="565882"/>
          </a:xfrm>
        </p:spPr>
        <p:txBody>
          <a:bodyPr lIns="0" rIns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/>
                </a:solidFill>
                <a:latin typeface="Abadi" panose="020B0604020104020204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altLang="zh-CN"/>
              <a:t>Click icon to add picture</a:t>
            </a:r>
            <a:endParaRPr lang="en-US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CE61E189-349E-0076-EA43-7BCB6E24CE8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730545" y="3461250"/>
            <a:ext cx="536270" cy="565882"/>
          </a:xfrm>
        </p:spPr>
        <p:txBody>
          <a:bodyPr lIns="0" rIns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/>
                </a:solidFill>
                <a:latin typeface="Abadi" panose="020B0604020104020204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altLang="zh-CN"/>
              <a:t>Click icon to add picture</a:t>
            </a:r>
            <a:endParaRPr lang="en-US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8B04572-5D47-C3DF-CDEA-15EC646EA8F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719909" y="5213881"/>
            <a:ext cx="536270" cy="565882"/>
          </a:xfrm>
        </p:spPr>
        <p:txBody>
          <a:bodyPr lIns="0" rIns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accent6"/>
                </a:solidFill>
                <a:latin typeface="Abadi" panose="020B0604020104020204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altLang="zh-CN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1137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7">
            <a:extLst>
              <a:ext uri="{FF2B5EF4-FFF2-40B4-BE49-F238E27FC236}">
                <a16:creationId xmlns:a16="http://schemas.microsoft.com/office/drawing/2014/main" id="{3EDD8D3E-653B-4A9E-9868-3B013A65FE9F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493157" y="529148"/>
            <a:ext cx="4248873" cy="4731130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ln w="19050"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18" name="Content Placeholder 47">
            <a:extLst>
              <a:ext uri="{FF2B5EF4-FFF2-40B4-BE49-F238E27FC236}">
                <a16:creationId xmlns:a16="http://schemas.microsoft.com/office/drawing/2014/main" id="{DD4E6A9F-7400-917B-6A6B-6BAB445E85F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7427" y="2702560"/>
            <a:ext cx="4959822" cy="25577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19" name="Freeform: Shape 25">
            <a:extLst>
              <a:ext uri="{FF2B5EF4-FFF2-40B4-BE49-F238E27FC236}">
                <a16:creationId xmlns:a16="http://schemas.microsoft.com/office/drawing/2014/main" id="{D7BBD3E8-D5DD-C21F-3792-4880373CCDCC}"/>
              </a:ext>
            </a:extLst>
          </p:cNvPr>
          <p:cNvSpPr/>
          <p:nvPr userDrawn="1"/>
        </p:nvSpPr>
        <p:spPr>
          <a:xfrm flipH="1">
            <a:off x="7400972" y="4508725"/>
            <a:ext cx="1347680" cy="158117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0" name="Freeform: Shape 11">
            <a:extLst>
              <a:ext uri="{FF2B5EF4-FFF2-40B4-BE49-F238E27FC236}">
                <a16:creationId xmlns:a16="http://schemas.microsoft.com/office/drawing/2014/main" id="{FC461D80-0CAC-62E5-726A-63B48BEF3F25}"/>
              </a:ext>
            </a:extLst>
          </p:cNvPr>
          <p:cNvSpPr/>
          <p:nvPr userDrawn="1"/>
        </p:nvSpPr>
        <p:spPr>
          <a:xfrm>
            <a:off x="6521016" y="4772906"/>
            <a:ext cx="663381" cy="75892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4944167-AFE9-AE61-AF44-B9AEE24D1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427" y="1938688"/>
            <a:ext cx="6975730" cy="758923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D9A43B3-ACC5-CF39-1BDB-D0BBE56C8D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69088" y="4996146"/>
            <a:ext cx="1011447" cy="795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2766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bg>
      <p:bgPr>
        <a:solidFill>
          <a:schemeClr val="accent3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EC2501B-DEA6-190E-3633-E32F635B7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764" y="1986926"/>
            <a:ext cx="5257793" cy="2057441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cxnSp>
        <p:nvCxnSpPr>
          <p:cNvPr id="24" name="Straight Connector 2">
            <a:extLst>
              <a:ext uri="{FF2B5EF4-FFF2-40B4-BE49-F238E27FC236}">
                <a16:creationId xmlns:a16="http://schemas.microsoft.com/office/drawing/2014/main" id="{F1FCCFDB-D985-4322-AC87-F69214893708}"/>
              </a:ext>
            </a:extLst>
          </p:cNvPr>
          <p:cNvCxnSpPr/>
          <p:nvPr userDrawn="1"/>
        </p:nvCxnSpPr>
        <p:spPr>
          <a:xfrm>
            <a:off x="1509005" y="4172084"/>
            <a:ext cx="0" cy="760288"/>
          </a:xfrm>
          <a:prstGeom prst="line">
            <a:avLst/>
          </a:prstGeom>
          <a:noFill/>
          <a:ln w="19050" cap="flat" cmpd="sng" algn="ctr">
            <a:solidFill>
              <a:srgbClr val="00E0D0"/>
            </a:solidFill>
            <a:prstDash val="solid"/>
            <a:miter lim="800000"/>
          </a:ln>
          <a:effectLst/>
        </p:spPr>
      </p:cxnSp>
      <p:sp>
        <p:nvSpPr>
          <p:cNvPr id="27" name="Content placeholder 47" descr="Click icon to add picture">
            <a:extLst>
              <a:ext uri="{FF2B5EF4-FFF2-40B4-BE49-F238E27FC236}">
                <a16:creationId xmlns:a16="http://schemas.microsoft.com/office/drawing/2014/main" id="{EA8265B5-83C5-4AE9-88AB-3F2443B57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01365" y="4172084"/>
            <a:ext cx="5092859" cy="760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/>
              <a:t>Click to edit Master title style </a:t>
            </a:r>
          </a:p>
        </p:txBody>
      </p:sp>
      <p:sp>
        <p:nvSpPr>
          <p:cNvPr id="47" name="Content placeholder 47">
            <a:extLst>
              <a:ext uri="{FF2B5EF4-FFF2-40B4-BE49-F238E27FC236}">
                <a16:creationId xmlns:a16="http://schemas.microsoft.com/office/drawing/2014/main" id="{0FFAAB58-ABE4-41AC-B94E-432936CE0301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6762877" y="1025036"/>
            <a:ext cx="4405503" cy="5066346"/>
          </a:xfrm>
          <a:custGeom>
            <a:avLst/>
            <a:gdLst>
              <a:gd name="connsiteX0" fmla="*/ 0 w 4816475"/>
              <a:gd name="connsiteY0" fmla="*/ 2407444 h 4814888"/>
              <a:gd name="connsiteX1" fmla="*/ 1203722 w 4816475"/>
              <a:gd name="connsiteY1" fmla="*/ 1 h 4814888"/>
              <a:gd name="connsiteX2" fmla="*/ 3612753 w 4816475"/>
              <a:gd name="connsiteY2" fmla="*/ 1 h 4814888"/>
              <a:gd name="connsiteX3" fmla="*/ 4816475 w 4816475"/>
              <a:gd name="connsiteY3" fmla="*/ 2407444 h 4814888"/>
              <a:gd name="connsiteX4" fmla="*/ 3612753 w 4816475"/>
              <a:gd name="connsiteY4" fmla="*/ 4814887 h 4814888"/>
              <a:gd name="connsiteX5" fmla="*/ 1203722 w 4816475"/>
              <a:gd name="connsiteY5" fmla="*/ 4814887 h 4814888"/>
              <a:gd name="connsiteX6" fmla="*/ 0 w 4816475"/>
              <a:gd name="connsiteY6" fmla="*/ 2407444 h 4814888"/>
              <a:gd name="connsiteX0" fmla="*/ 0 w 4816475"/>
              <a:gd name="connsiteY0" fmla="*/ 2407443 h 4814886"/>
              <a:gd name="connsiteX1" fmla="*/ 2199402 w 4816475"/>
              <a:gd name="connsiteY1" fmla="*/ 243840 h 4814886"/>
              <a:gd name="connsiteX2" fmla="*/ 3612753 w 4816475"/>
              <a:gd name="connsiteY2" fmla="*/ 0 h 4814886"/>
              <a:gd name="connsiteX3" fmla="*/ 4816475 w 4816475"/>
              <a:gd name="connsiteY3" fmla="*/ 2407443 h 4814886"/>
              <a:gd name="connsiteX4" fmla="*/ 3612753 w 4816475"/>
              <a:gd name="connsiteY4" fmla="*/ 4814886 h 4814886"/>
              <a:gd name="connsiteX5" fmla="*/ 1203722 w 4816475"/>
              <a:gd name="connsiteY5" fmla="*/ 4814886 h 4814886"/>
              <a:gd name="connsiteX6" fmla="*/ 0 w 4816475"/>
              <a:gd name="connsiteY6" fmla="*/ 2407443 h 4814886"/>
              <a:gd name="connsiteX0" fmla="*/ 0 w 4816475"/>
              <a:gd name="connsiteY0" fmla="*/ 2163603 h 4571046"/>
              <a:gd name="connsiteX1" fmla="*/ 2199402 w 4816475"/>
              <a:gd name="connsiteY1" fmla="*/ 0 h 4571046"/>
              <a:gd name="connsiteX2" fmla="*/ 4608433 w 4816475"/>
              <a:gd name="connsiteY2" fmla="*/ 721360 h 4571046"/>
              <a:gd name="connsiteX3" fmla="*/ 4816475 w 4816475"/>
              <a:gd name="connsiteY3" fmla="*/ 2163603 h 4571046"/>
              <a:gd name="connsiteX4" fmla="*/ 3612753 w 4816475"/>
              <a:gd name="connsiteY4" fmla="*/ 4571046 h 4571046"/>
              <a:gd name="connsiteX5" fmla="*/ 1203722 w 4816475"/>
              <a:gd name="connsiteY5" fmla="*/ 4571046 h 4571046"/>
              <a:gd name="connsiteX6" fmla="*/ 0 w 4816475"/>
              <a:gd name="connsiteY6" fmla="*/ 2163603 h 4571046"/>
              <a:gd name="connsiteX0" fmla="*/ 0 w 4958715"/>
              <a:gd name="connsiteY0" fmla="*/ 2163603 h 4571046"/>
              <a:gd name="connsiteX1" fmla="*/ 2199402 w 4958715"/>
              <a:gd name="connsiteY1" fmla="*/ 0 h 4571046"/>
              <a:gd name="connsiteX2" fmla="*/ 4608433 w 4958715"/>
              <a:gd name="connsiteY2" fmla="*/ 721360 h 4571046"/>
              <a:gd name="connsiteX3" fmla="*/ 4958715 w 4958715"/>
              <a:gd name="connsiteY3" fmla="*/ 2803683 h 4571046"/>
              <a:gd name="connsiteX4" fmla="*/ 3612753 w 4958715"/>
              <a:gd name="connsiteY4" fmla="*/ 4571046 h 4571046"/>
              <a:gd name="connsiteX5" fmla="*/ 1203722 w 4958715"/>
              <a:gd name="connsiteY5" fmla="*/ 4571046 h 4571046"/>
              <a:gd name="connsiteX6" fmla="*/ 0 w 4958715"/>
              <a:gd name="connsiteY6" fmla="*/ 2163603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1161050 w 4916043"/>
              <a:gd name="connsiteY5" fmla="*/ 4571046 h 4571046"/>
              <a:gd name="connsiteX6" fmla="*/ 0 w 4916043"/>
              <a:gd name="connsiteY6" fmla="*/ 1273587 h 4571046"/>
              <a:gd name="connsiteX0" fmla="*/ 0 w 4916043"/>
              <a:gd name="connsiteY0" fmla="*/ 1273587 h 4571046"/>
              <a:gd name="connsiteX1" fmla="*/ 2156730 w 4916043"/>
              <a:gd name="connsiteY1" fmla="*/ 0 h 4571046"/>
              <a:gd name="connsiteX2" fmla="*/ 4565761 w 4916043"/>
              <a:gd name="connsiteY2" fmla="*/ 721360 h 4571046"/>
              <a:gd name="connsiteX3" fmla="*/ 4916043 w 4916043"/>
              <a:gd name="connsiteY3" fmla="*/ 2803683 h 4571046"/>
              <a:gd name="connsiteX4" fmla="*/ 3570081 w 4916043"/>
              <a:gd name="connsiteY4" fmla="*/ 4571046 h 4571046"/>
              <a:gd name="connsiteX5" fmla="*/ 21098 w 4916043"/>
              <a:gd name="connsiteY5" fmla="*/ 3815142 h 4571046"/>
              <a:gd name="connsiteX6" fmla="*/ 0 w 4916043"/>
              <a:gd name="connsiteY6" fmla="*/ 1273587 h 4571046"/>
              <a:gd name="connsiteX0" fmla="*/ 0 w 4916043"/>
              <a:gd name="connsiteY0" fmla="*/ 1273587 h 5066346"/>
              <a:gd name="connsiteX1" fmla="*/ 2156730 w 4916043"/>
              <a:gd name="connsiteY1" fmla="*/ 0 h 5066346"/>
              <a:gd name="connsiteX2" fmla="*/ 4565761 w 4916043"/>
              <a:gd name="connsiteY2" fmla="*/ 721360 h 5066346"/>
              <a:gd name="connsiteX3" fmla="*/ 4916043 w 4916043"/>
              <a:gd name="connsiteY3" fmla="*/ 2803683 h 5066346"/>
              <a:gd name="connsiteX4" fmla="*/ 2236581 w 4916043"/>
              <a:gd name="connsiteY4" fmla="*/ 5066346 h 5066346"/>
              <a:gd name="connsiteX5" fmla="*/ 21098 w 4916043"/>
              <a:gd name="connsiteY5" fmla="*/ 3815142 h 5066346"/>
              <a:gd name="connsiteX6" fmla="*/ 0 w 4916043"/>
              <a:gd name="connsiteY6" fmla="*/ 1273587 h 5066346"/>
              <a:gd name="connsiteX0" fmla="*/ 0 w 4565761"/>
              <a:gd name="connsiteY0" fmla="*/ 1273587 h 5066346"/>
              <a:gd name="connsiteX1" fmla="*/ 2156730 w 4565761"/>
              <a:gd name="connsiteY1" fmla="*/ 0 h 5066346"/>
              <a:gd name="connsiteX2" fmla="*/ 4565761 w 4565761"/>
              <a:gd name="connsiteY2" fmla="*/ 721360 h 5066346"/>
              <a:gd name="connsiteX3" fmla="*/ 4405503 w 4565761"/>
              <a:gd name="connsiteY3" fmla="*/ 3801903 h 5066346"/>
              <a:gd name="connsiteX4" fmla="*/ 2236581 w 4565761"/>
              <a:gd name="connsiteY4" fmla="*/ 5066346 h 5066346"/>
              <a:gd name="connsiteX5" fmla="*/ 21098 w 4565761"/>
              <a:gd name="connsiteY5" fmla="*/ 3815142 h 5066346"/>
              <a:gd name="connsiteX6" fmla="*/ 0 w 4565761"/>
              <a:gd name="connsiteY6" fmla="*/ 1273587 h 5066346"/>
              <a:gd name="connsiteX0" fmla="*/ 0 w 4405503"/>
              <a:gd name="connsiteY0" fmla="*/ 1273587 h 5066346"/>
              <a:gd name="connsiteX1" fmla="*/ 2156730 w 4405503"/>
              <a:gd name="connsiteY1" fmla="*/ 0 h 5066346"/>
              <a:gd name="connsiteX2" fmla="*/ 4398121 w 4405503"/>
              <a:gd name="connsiteY2" fmla="*/ 1277620 h 5066346"/>
              <a:gd name="connsiteX3" fmla="*/ 4405503 w 4405503"/>
              <a:gd name="connsiteY3" fmla="*/ 3801903 h 5066346"/>
              <a:gd name="connsiteX4" fmla="*/ 2236581 w 4405503"/>
              <a:gd name="connsiteY4" fmla="*/ 5066346 h 5066346"/>
              <a:gd name="connsiteX5" fmla="*/ 21098 w 4405503"/>
              <a:gd name="connsiteY5" fmla="*/ 3815142 h 5066346"/>
              <a:gd name="connsiteX6" fmla="*/ 0 w 4405503"/>
              <a:gd name="connsiteY6" fmla="*/ 1273587 h 506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5503" h="5066346">
                <a:moveTo>
                  <a:pt x="0" y="1273587"/>
                </a:moveTo>
                <a:lnTo>
                  <a:pt x="2156730" y="0"/>
                </a:lnTo>
                <a:lnTo>
                  <a:pt x="4398121" y="1277620"/>
                </a:lnTo>
                <a:cubicBezTo>
                  <a:pt x="4400582" y="2119048"/>
                  <a:pt x="4403042" y="2960475"/>
                  <a:pt x="4405503" y="3801903"/>
                </a:cubicBezTo>
                <a:lnTo>
                  <a:pt x="2236581" y="5066346"/>
                </a:lnTo>
                <a:lnTo>
                  <a:pt x="21098" y="3815142"/>
                </a:lnTo>
                <a:lnTo>
                  <a:pt x="0" y="1273587"/>
                </a:lnTo>
                <a:close/>
              </a:path>
            </a:pathLst>
          </a:custGeom>
          <a:ln w="41275">
            <a:noFill/>
            <a:prstDash val="dash"/>
          </a:ln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en-US" altLang="zh-CN" sz="1050" noProof="0" dirty="0"/>
            </a:lvl1pPr>
          </a:lstStyle>
          <a:p>
            <a:pPr marL="0" lvl="0" indent="0">
              <a:buFontTx/>
              <a:buNone/>
            </a:pPr>
            <a:r>
              <a:rPr lang="en-GB" altLang="zh-CN" noProof="0"/>
              <a:t>Click icon to add picture</a:t>
            </a:r>
            <a:endParaRPr lang="en-US" altLang="zh-CN" noProof="0" dirty="0"/>
          </a:p>
        </p:txBody>
      </p:sp>
      <p:sp>
        <p:nvSpPr>
          <p:cNvPr id="9" name="Freeform: Shape 11">
            <a:extLst>
              <a:ext uri="{FF2B5EF4-FFF2-40B4-BE49-F238E27FC236}">
                <a16:creationId xmlns:a16="http://schemas.microsoft.com/office/drawing/2014/main" id="{9ECA281C-F2CB-AE9D-DCD6-F94D3FEE2E67}"/>
              </a:ext>
            </a:extLst>
          </p:cNvPr>
          <p:cNvSpPr/>
          <p:nvPr userDrawn="1"/>
        </p:nvSpPr>
        <p:spPr>
          <a:xfrm>
            <a:off x="7441325" y="5568778"/>
            <a:ext cx="684104" cy="78262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23" name="Freeform: Shape 11">
            <a:extLst>
              <a:ext uri="{FF2B5EF4-FFF2-40B4-BE49-F238E27FC236}">
                <a16:creationId xmlns:a16="http://schemas.microsoft.com/office/drawing/2014/main" id="{8635CBF7-AEF1-98F3-395E-5FBF0D2C1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58497" y="384518"/>
            <a:ext cx="1637958" cy="187385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rgbClr val="4BBB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2" name="Freeform: Shape 11">
            <a:extLst>
              <a:ext uri="{FF2B5EF4-FFF2-40B4-BE49-F238E27FC236}">
                <a16:creationId xmlns:a16="http://schemas.microsoft.com/office/drawing/2014/main" id="{F920D226-8E71-809D-2E2A-AE03793E09D3}"/>
              </a:ext>
            </a:extLst>
          </p:cNvPr>
          <p:cNvSpPr/>
          <p:nvPr userDrawn="1"/>
        </p:nvSpPr>
        <p:spPr>
          <a:xfrm>
            <a:off x="9003095" y="5634261"/>
            <a:ext cx="829927" cy="949454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2700" cap="flat" cmpd="sng" algn="ctr">
            <a:gradFill>
              <a:gsLst>
                <a:gs pos="0">
                  <a:srgbClr val="7363A8"/>
                </a:gs>
                <a:gs pos="100000">
                  <a:srgbClr val="E95174"/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2456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>
          <p15:clr>
            <a:srgbClr val="FBAE40"/>
          </p15:clr>
        </p15:guide>
        <p15:guide id="2" orient="horz" pos="52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C6FCE-A04B-2BE2-CEC7-3120A877B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DE976C-38CF-ED1C-A94F-8DFA3D75E9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9CAD55-0C05-DE74-D76C-B5A851B812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C7F97852-A9E3-B22B-78BF-5F114EF52994}"/>
              </a:ext>
            </a:extLst>
          </p:cNvPr>
          <p:cNvSpPr/>
          <p:nvPr userDrawn="1"/>
        </p:nvSpPr>
        <p:spPr>
          <a:xfrm rot="18015491">
            <a:off x="10039712" y="125464"/>
            <a:ext cx="663381" cy="75892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10" name="Freeform: Shape 11">
            <a:extLst>
              <a:ext uri="{FF2B5EF4-FFF2-40B4-BE49-F238E27FC236}">
                <a16:creationId xmlns:a16="http://schemas.microsoft.com/office/drawing/2014/main" id="{7A3C08F9-5C44-D4B7-DECF-1C9038832BF7}"/>
              </a:ext>
            </a:extLst>
          </p:cNvPr>
          <p:cNvSpPr/>
          <p:nvPr userDrawn="1"/>
        </p:nvSpPr>
        <p:spPr>
          <a:xfrm rot="18015491">
            <a:off x="9798145" y="467471"/>
            <a:ext cx="460067" cy="52632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2700" cap="flat" cmpd="sng" algn="ctr">
            <a:solidFill>
              <a:srgbClr val="E95174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11" name="Freeform: Shape 25">
            <a:extLst>
              <a:ext uri="{FF2B5EF4-FFF2-40B4-BE49-F238E27FC236}">
                <a16:creationId xmlns:a16="http://schemas.microsoft.com/office/drawing/2014/main" id="{7EF1DDFC-8D29-95FB-1987-E1E6FB4CCED5}"/>
              </a:ext>
            </a:extLst>
          </p:cNvPr>
          <p:cNvSpPr/>
          <p:nvPr userDrawn="1"/>
        </p:nvSpPr>
        <p:spPr>
          <a:xfrm rot="18015491" flipH="1">
            <a:off x="10919668" y="-138717"/>
            <a:ext cx="1347680" cy="158117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466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B841F-8261-C7A3-1CB5-003E1805B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746568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D5AF20-2B1C-0A9C-BEB4-04F1438187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276793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A0B3B2-DDF5-AD58-9877-D89019D6F7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346768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Freeform: Shape 25">
            <a:extLst>
              <a:ext uri="{FF2B5EF4-FFF2-40B4-BE49-F238E27FC236}">
                <a16:creationId xmlns:a16="http://schemas.microsoft.com/office/drawing/2014/main" id="{D16FA326-D4CC-08AA-4FC9-18807EBA98C3}"/>
              </a:ext>
            </a:extLst>
          </p:cNvPr>
          <p:cNvSpPr/>
          <p:nvPr userDrawn="1"/>
        </p:nvSpPr>
        <p:spPr>
          <a:xfrm rot="18015491" flipH="1">
            <a:off x="10919668" y="-138717"/>
            <a:ext cx="1347680" cy="158117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9" name="Freeform: Shape 11">
            <a:extLst>
              <a:ext uri="{FF2B5EF4-FFF2-40B4-BE49-F238E27FC236}">
                <a16:creationId xmlns:a16="http://schemas.microsoft.com/office/drawing/2014/main" id="{285261D5-A7DA-03E0-5E59-EBCFFF98EBE5}"/>
              </a:ext>
            </a:extLst>
          </p:cNvPr>
          <p:cNvSpPr/>
          <p:nvPr userDrawn="1"/>
        </p:nvSpPr>
        <p:spPr>
          <a:xfrm rot="18015491">
            <a:off x="10039712" y="125464"/>
            <a:ext cx="663381" cy="75892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6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00E9D26-3990-AA53-F3E2-E22829E8D8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8015491">
            <a:off x="11235398" y="254008"/>
            <a:ext cx="1011447" cy="795726"/>
          </a:xfrm>
          <a:prstGeom prst="rect">
            <a:avLst/>
          </a:prstGeom>
        </p:spPr>
      </p:pic>
      <p:sp>
        <p:nvSpPr>
          <p:cNvPr id="11" name="Freeform: Shape 11">
            <a:extLst>
              <a:ext uri="{FF2B5EF4-FFF2-40B4-BE49-F238E27FC236}">
                <a16:creationId xmlns:a16="http://schemas.microsoft.com/office/drawing/2014/main" id="{B2B66CD8-D9E0-4BF4-6940-1F150F60AB75}"/>
              </a:ext>
            </a:extLst>
          </p:cNvPr>
          <p:cNvSpPr/>
          <p:nvPr userDrawn="1"/>
        </p:nvSpPr>
        <p:spPr>
          <a:xfrm rot="18015491">
            <a:off x="9790948" y="765097"/>
            <a:ext cx="460067" cy="526326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rgbClr val="DCD3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658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exagon 17">
            <a:extLst>
              <a:ext uri="{FF2B5EF4-FFF2-40B4-BE49-F238E27FC236}">
                <a16:creationId xmlns:a16="http://schemas.microsoft.com/office/drawing/2014/main" id="{18B06ECC-5FA7-4ACA-86BF-694240D0C05B}"/>
              </a:ext>
            </a:extLst>
          </p:cNvPr>
          <p:cNvSpPr/>
          <p:nvPr userDrawn="1"/>
        </p:nvSpPr>
        <p:spPr>
          <a:xfrm>
            <a:off x="412218" y="1136470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Hexagon 19">
            <a:extLst>
              <a:ext uri="{FF2B5EF4-FFF2-40B4-BE49-F238E27FC236}">
                <a16:creationId xmlns:a16="http://schemas.microsoft.com/office/drawing/2014/main" id="{089AA305-8FFC-46A5-B806-D5D78320D0CD}"/>
              </a:ext>
            </a:extLst>
          </p:cNvPr>
          <p:cNvSpPr/>
          <p:nvPr userDrawn="1"/>
        </p:nvSpPr>
        <p:spPr>
          <a:xfrm>
            <a:off x="1580070" y="1812437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2" name="Hexagon 21">
            <a:extLst>
              <a:ext uri="{FF2B5EF4-FFF2-40B4-BE49-F238E27FC236}">
                <a16:creationId xmlns:a16="http://schemas.microsoft.com/office/drawing/2014/main" id="{DB2D65ED-32BC-44B2-92F3-E16717051CA1}"/>
              </a:ext>
            </a:extLst>
          </p:cNvPr>
          <p:cNvSpPr/>
          <p:nvPr userDrawn="1"/>
        </p:nvSpPr>
        <p:spPr>
          <a:xfrm>
            <a:off x="3953935" y="3182793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4" name="Freeform 43">
            <a:extLst>
              <a:ext uri="{FF2B5EF4-FFF2-40B4-BE49-F238E27FC236}">
                <a16:creationId xmlns:a16="http://schemas.microsoft.com/office/drawing/2014/main" id="{6100186E-95B0-AB29-6F1D-DBFBAA566DB2}"/>
              </a:ext>
            </a:extLst>
          </p:cNvPr>
          <p:cNvSpPr/>
          <p:nvPr userDrawn="1"/>
        </p:nvSpPr>
        <p:spPr>
          <a:xfrm>
            <a:off x="3955762" y="5952136"/>
            <a:ext cx="1455521" cy="932559"/>
          </a:xfrm>
          <a:custGeom>
            <a:avLst/>
            <a:gdLst>
              <a:gd name="connsiteX0" fmla="*/ 359906 w 1455521"/>
              <a:gd name="connsiteY0" fmla="*/ 0 h 932559"/>
              <a:gd name="connsiteX1" fmla="*/ 1095615 w 1455521"/>
              <a:gd name="connsiteY1" fmla="*/ 0 h 932559"/>
              <a:gd name="connsiteX2" fmla="*/ 1455521 w 1455521"/>
              <a:gd name="connsiteY2" fmla="*/ 633348 h 932559"/>
              <a:gd name="connsiteX3" fmla="*/ 1285492 w 1455521"/>
              <a:gd name="connsiteY3" fmla="*/ 932559 h 932559"/>
              <a:gd name="connsiteX4" fmla="*/ 170030 w 1455521"/>
              <a:gd name="connsiteY4" fmla="*/ 932559 h 932559"/>
              <a:gd name="connsiteX5" fmla="*/ 0 w 1455521"/>
              <a:gd name="connsiteY5" fmla="*/ 633348 h 932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5521" h="932559">
                <a:moveTo>
                  <a:pt x="359906" y="0"/>
                </a:moveTo>
                <a:lnTo>
                  <a:pt x="1095615" y="0"/>
                </a:lnTo>
                <a:lnTo>
                  <a:pt x="1455521" y="633348"/>
                </a:lnTo>
                <a:lnTo>
                  <a:pt x="1285492" y="932559"/>
                </a:lnTo>
                <a:lnTo>
                  <a:pt x="170030" y="932559"/>
                </a:lnTo>
                <a:lnTo>
                  <a:pt x="0" y="633348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4" name="Hexagon 27">
            <a:extLst>
              <a:ext uri="{FF2B5EF4-FFF2-40B4-BE49-F238E27FC236}">
                <a16:creationId xmlns:a16="http://schemas.microsoft.com/office/drawing/2014/main" id="{5275D449-7441-440B-8584-96D25256F24D}"/>
              </a:ext>
            </a:extLst>
          </p:cNvPr>
          <p:cNvSpPr/>
          <p:nvPr userDrawn="1"/>
        </p:nvSpPr>
        <p:spPr>
          <a:xfrm>
            <a:off x="2783996" y="5245443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rgbClr val="E951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5" name="Hexagon 28">
            <a:extLst>
              <a:ext uri="{FF2B5EF4-FFF2-40B4-BE49-F238E27FC236}">
                <a16:creationId xmlns:a16="http://schemas.microsoft.com/office/drawing/2014/main" id="{94CFCD79-F5CD-4175-96DE-1AC2E1999DB6}"/>
              </a:ext>
            </a:extLst>
          </p:cNvPr>
          <p:cNvSpPr/>
          <p:nvPr userDrawn="1"/>
        </p:nvSpPr>
        <p:spPr>
          <a:xfrm>
            <a:off x="2767144" y="3880620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8" name="Hexagon 31">
            <a:extLst>
              <a:ext uri="{FF2B5EF4-FFF2-40B4-BE49-F238E27FC236}">
                <a16:creationId xmlns:a16="http://schemas.microsoft.com/office/drawing/2014/main" id="{61BB4AB0-7C5C-4697-A25B-0AFD8754AB52}"/>
              </a:ext>
            </a:extLst>
          </p:cNvPr>
          <p:cNvSpPr/>
          <p:nvPr userDrawn="1"/>
        </p:nvSpPr>
        <p:spPr>
          <a:xfrm>
            <a:off x="1580353" y="3182793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6" name="Freeform 45">
            <a:extLst>
              <a:ext uri="{FF2B5EF4-FFF2-40B4-BE49-F238E27FC236}">
                <a16:creationId xmlns:a16="http://schemas.microsoft.com/office/drawing/2014/main" id="{2363FF00-E570-D743-258E-E9FEF4F02A08}"/>
              </a:ext>
            </a:extLst>
          </p:cNvPr>
          <p:cNvSpPr/>
          <p:nvPr userDrawn="1"/>
        </p:nvSpPr>
        <p:spPr>
          <a:xfrm>
            <a:off x="6334981" y="5962237"/>
            <a:ext cx="1455521" cy="901561"/>
          </a:xfrm>
          <a:custGeom>
            <a:avLst/>
            <a:gdLst>
              <a:gd name="connsiteX0" fmla="*/ 359906 w 1455521"/>
              <a:gd name="connsiteY0" fmla="*/ 0 h 901561"/>
              <a:gd name="connsiteX1" fmla="*/ 1095615 w 1455521"/>
              <a:gd name="connsiteY1" fmla="*/ 0 h 901561"/>
              <a:gd name="connsiteX2" fmla="*/ 1455521 w 1455521"/>
              <a:gd name="connsiteY2" fmla="*/ 633348 h 901561"/>
              <a:gd name="connsiteX3" fmla="*/ 1303107 w 1455521"/>
              <a:gd name="connsiteY3" fmla="*/ 901561 h 901561"/>
              <a:gd name="connsiteX4" fmla="*/ 152415 w 1455521"/>
              <a:gd name="connsiteY4" fmla="*/ 901561 h 901561"/>
              <a:gd name="connsiteX5" fmla="*/ 0 w 1455521"/>
              <a:gd name="connsiteY5" fmla="*/ 633348 h 90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5521" h="901561">
                <a:moveTo>
                  <a:pt x="359906" y="0"/>
                </a:moveTo>
                <a:lnTo>
                  <a:pt x="1095615" y="0"/>
                </a:lnTo>
                <a:lnTo>
                  <a:pt x="1455521" y="633348"/>
                </a:lnTo>
                <a:lnTo>
                  <a:pt x="1303107" y="901561"/>
                </a:lnTo>
                <a:lnTo>
                  <a:pt x="152415" y="901561"/>
                </a:lnTo>
                <a:lnTo>
                  <a:pt x="0" y="633348"/>
                </a:lnTo>
                <a:close/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8" name="Content Placeholder 47">
            <a:extLst>
              <a:ext uri="{FF2B5EF4-FFF2-40B4-BE49-F238E27FC236}">
                <a16:creationId xmlns:a16="http://schemas.microsoft.com/office/drawing/2014/main" id="{073CD90F-1E45-47EC-B558-D5F638F5FE6F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2773677" y="1086206"/>
            <a:ext cx="1465840" cy="1289394"/>
          </a:xfrm>
          <a:prstGeom prst="hexagon">
            <a:avLst>
              <a:gd name="adj" fmla="val 28349"/>
              <a:gd name="vf" fmla="val 115470"/>
            </a:avLst>
          </a:prstGeom>
          <a:ln w="12700">
            <a:noFill/>
          </a:ln>
        </p:spPr>
        <p:txBody>
          <a:bodyPr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29" name="Content Placeholder 47">
            <a:extLst>
              <a:ext uri="{FF2B5EF4-FFF2-40B4-BE49-F238E27FC236}">
                <a16:creationId xmlns:a16="http://schemas.microsoft.com/office/drawing/2014/main" id="{9A501203-35D0-41A5-A2A4-9F05FAB495C4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91110" y="2493385"/>
            <a:ext cx="1465840" cy="1289394"/>
          </a:xfrm>
          <a:prstGeom prst="hexagon">
            <a:avLst>
              <a:gd name="adj" fmla="val 28349"/>
              <a:gd name="vf" fmla="val 115470"/>
            </a:avLst>
          </a:prstGeom>
          <a:ln>
            <a:noFill/>
          </a:ln>
        </p:spPr>
        <p:txBody>
          <a:bodyPr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30" name="Content Placeholder 47">
            <a:extLst>
              <a:ext uri="{FF2B5EF4-FFF2-40B4-BE49-F238E27FC236}">
                <a16:creationId xmlns:a16="http://schemas.microsoft.com/office/drawing/2014/main" id="{1FA62038-8BB7-45FD-896E-34738A5578BD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5151412" y="5238680"/>
            <a:ext cx="1465840" cy="1289394"/>
          </a:xfrm>
          <a:prstGeom prst="hexagon">
            <a:avLst>
              <a:gd name="adj" fmla="val 28349"/>
              <a:gd name="vf" fmla="val 115470"/>
            </a:avLst>
          </a:prstGeom>
          <a:ln w="12700">
            <a:noFill/>
          </a:ln>
        </p:spPr>
        <p:txBody>
          <a:bodyPr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31" name="Content Placeholder 47">
            <a:extLst>
              <a:ext uri="{FF2B5EF4-FFF2-40B4-BE49-F238E27FC236}">
                <a16:creationId xmlns:a16="http://schemas.microsoft.com/office/drawing/2014/main" id="{9A7E0EE6-5885-489B-81A9-65DBC0016938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543386" y="4559473"/>
            <a:ext cx="1465840" cy="1289394"/>
          </a:xfrm>
          <a:prstGeom prst="hexagon">
            <a:avLst>
              <a:gd name="adj" fmla="val 28349"/>
              <a:gd name="vf" fmla="val 115470"/>
            </a:avLst>
          </a:prstGeom>
          <a:ln w="12700">
            <a:noFill/>
          </a:ln>
        </p:spPr>
        <p:txBody>
          <a:bodyPr>
            <a:noAutofit/>
          </a:bodyPr>
          <a:lstStyle>
            <a:lvl1pPr marL="0" indent="0" algn="l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21" name="Content Placeholder 47" descr="Click icon to add picture">
            <a:extLst>
              <a:ext uri="{FF2B5EF4-FFF2-40B4-BE49-F238E27FC236}">
                <a16:creationId xmlns:a16="http://schemas.microsoft.com/office/drawing/2014/main" id="{B7E46D91-6194-E279-CAE3-425E21FD4A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31280" y="2119250"/>
            <a:ext cx="5028261" cy="95988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722C9EB-D452-B3DF-5219-160F48DE7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1280" y="728798"/>
            <a:ext cx="5028261" cy="13255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E3C8467A-0A34-2A65-92FE-F12F6A3D84A6}"/>
              </a:ext>
            </a:extLst>
          </p:cNvPr>
          <p:cNvSpPr/>
          <p:nvPr userDrawn="1"/>
        </p:nvSpPr>
        <p:spPr>
          <a:xfrm>
            <a:off x="-6538" y="1815084"/>
            <a:ext cx="697438" cy="1266696"/>
          </a:xfrm>
          <a:custGeom>
            <a:avLst/>
            <a:gdLst>
              <a:gd name="connsiteX0" fmla="*/ 0 w 732607"/>
              <a:gd name="connsiteY0" fmla="*/ 0 h 1266696"/>
              <a:gd name="connsiteX1" fmla="*/ 372701 w 732607"/>
              <a:gd name="connsiteY1" fmla="*/ 0 h 1266696"/>
              <a:gd name="connsiteX2" fmla="*/ 732607 w 732607"/>
              <a:gd name="connsiteY2" fmla="*/ 633348 h 1266696"/>
              <a:gd name="connsiteX3" fmla="*/ 372701 w 732607"/>
              <a:gd name="connsiteY3" fmla="*/ 1266696 h 1266696"/>
              <a:gd name="connsiteX4" fmla="*/ 0 w 732607"/>
              <a:gd name="connsiteY4" fmla="*/ 1266696 h 1266696"/>
              <a:gd name="connsiteX0" fmla="*/ 43961 w 732607"/>
              <a:gd name="connsiteY0" fmla="*/ 8793 h 1266696"/>
              <a:gd name="connsiteX1" fmla="*/ 372701 w 732607"/>
              <a:gd name="connsiteY1" fmla="*/ 0 h 1266696"/>
              <a:gd name="connsiteX2" fmla="*/ 732607 w 732607"/>
              <a:gd name="connsiteY2" fmla="*/ 633348 h 1266696"/>
              <a:gd name="connsiteX3" fmla="*/ 372701 w 732607"/>
              <a:gd name="connsiteY3" fmla="*/ 1266696 h 1266696"/>
              <a:gd name="connsiteX4" fmla="*/ 0 w 732607"/>
              <a:gd name="connsiteY4" fmla="*/ 1266696 h 1266696"/>
              <a:gd name="connsiteX5" fmla="*/ 43961 w 732607"/>
              <a:gd name="connsiteY5" fmla="*/ 8793 h 1266696"/>
              <a:gd name="connsiteX0" fmla="*/ 8792 w 697438"/>
              <a:gd name="connsiteY0" fmla="*/ 8793 h 1266696"/>
              <a:gd name="connsiteX1" fmla="*/ 337532 w 697438"/>
              <a:gd name="connsiteY1" fmla="*/ 0 h 1266696"/>
              <a:gd name="connsiteX2" fmla="*/ 697438 w 697438"/>
              <a:gd name="connsiteY2" fmla="*/ 633348 h 1266696"/>
              <a:gd name="connsiteX3" fmla="*/ 337532 w 697438"/>
              <a:gd name="connsiteY3" fmla="*/ 1266696 h 1266696"/>
              <a:gd name="connsiteX4" fmla="*/ 0 w 697438"/>
              <a:gd name="connsiteY4" fmla="*/ 1266696 h 1266696"/>
              <a:gd name="connsiteX5" fmla="*/ 8792 w 697438"/>
              <a:gd name="connsiteY5" fmla="*/ 8793 h 1266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7438" h="1266696">
                <a:moveTo>
                  <a:pt x="8792" y="8793"/>
                </a:moveTo>
                <a:lnTo>
                  <a:pt x="337532" y="0"/>
                </a:lnTo>
                <a:lnTo>
                  <a:pt x="697438" y="633348"/>
                </a:lnTo>
                <a:lnTo>
                  <a:pt x="337532" y="1266696"/>
                </a:lnTo>
                <a:lnTo>
                  <a:pt x="0" y="1266696"/>
                </a:lnTo>
                <a:cubicBezTo>
                  <a:pt x="0" y="844464"/>
                  <a:pt x="8792" y="431025"/>
                  <a:pt x="8792" y="8793"/>
                </a:cubicBezTo>
                <a:close/>
              </a:path>
            </a:pathLst>
          </a:custGeom>
          <a:noFill/>
          <a:ln w="19050">
            <a:solidFill>
              <a:srgbClr val="E951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B3D54F5-515B-48DC-585D-B61486F471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700454">
            <a:off x="1625647" y="3395656"/>
            <a:ext cx="996434" cy="783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3342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876" y="2125980"/>
            <a:ext cx="10368598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500" b="1" i="0">
                <a:solidFill>
                  <a:schemeClr val="bg1"/>
                </a:solidFill>
                <a:latin typeface="Oswald SemiBold"/>
                <a:cs typeface="Oswald 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9752" y="3840480"/>
            <a:ext cx="8538845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chemeClr val="bg1"/>
                </a:solidFill>
                <a:latin typeface="Oswald Medium"/>
                <a:cs typeface="Oswald Medium"/>
              </a:defRPr>
            </a:lvl1pPr>
          </a:lstStyle>
          <a:p>
            <a:pPr marL="12700">
              <a:lnSpc>
                <a:spcPct val="100000"/>
              </a:lnSpc>
              <a:spcBef>
                <a:spcPts val="560"/>
              </a:spcBef>
            </a:pPr>
            <a:r>
              <a:rPr spc="-10" dirty="0"/>
              <a:t>#SCS2025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500" b="0" i="0">
                <a:solidFill>
                  <a:srgbClr val="4EBDC5"/>
                </a:solidFill>
                <a:latin typeface="Oswald Medium"/>
                <a:cs typeface="Oswald Medium"/>
              </a:defRPr>
            </a:lvl1pPr>
          </a:lstStyle>
          <a:p>
            <a:pPr marL="12700">
              <a:lnSpc>
                <a:spcPct val="100000"/>
              </a:lnSpc>
              <a:spcBef>
                <a:spcPts val="390"/>
              </a:spcBef>
            </a:pPr>
            <a:r>
              <a:rPr dirty="0"/>
              <a:t>SOUTH</a:t>
            </a:r>
            <a:r>
              <a:rPr spc="-50" dirty="0"/>
              <a:t> </a:t>
            </a:r>
            <a:r>
              <a:rPr dirty="0"/>
              <a:t>COAST</a:t>
            </a:r>
            <a:r>
              <a:rPr spc="-50" dirty="0"/>
              <a:t> </a:t>
            </a:r>
            <a:r>
              <a:rPr spc="-10" dirty="0"/>
              <a:t>SUMMIT</a:t>
            </a:r>
          </a:p>
          <a:p>
            <a:pPr marL="12700">
              <a:lnSpc>
                <a:spcPct val="100000"/>
              </a:lnSpc>
              <a:spcBef>
                <a:spcPts val="200"/>
              </a:spcBef>
            </a:pPr>
            <a:r>
              <a:rPr dirty="0">
                <a:solidFill>
                  <a:srgbClr val="FFFFFF"/>
                </a:solidFill>
              </a:rPr>
              <a:t>A</a:t>
            </a:r>
            <a:r>
              <a:rPr spc="-40" dirty="0">
                <a:solidFill>
                  <a:srgbClr val="FFFFFF"/>
                </a:solidFill>
              </a:rPr>
              <a:t> </a:t>
            </a:r>
            <a:r>
              <a:rPr dirty="0">
                <a:solidFill>
                  <a:srgbClr val="FFFFFF"/>
                </a:solidFill>
              </a:rPr>
              <a:t>CLOUD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TECHNOLOGY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dirty="0">
                <a:solidFill>
                  <a:srgbClr val="FFFFFF"/>
                </a:solidFill>
              </a:rPr>
              <a:t>COMMUNITY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CONFERENCE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2837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500" b="1" i="0">
                <a:solidFill>
                  <a:schemeClr val="bg1"/>
                </a:solidFill>
                <a:latin typeface="Oswald SemiBold"/>
                <a:cs typeface="Oswald 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chemeClr val="bg1"/>
                </a:solidFill>
                <a:latin typeface="Oswald Medium"/>
                <a:cs typeface="Oswald Medium"/>
              </a:defRPr>
            </a:lvl1pPr>
          </a:lstStyle>
          <a:p>
            <a:pPr marL="12700">
              <a:lnSpc>
                <a:spcPct val="100000"/>
              </a:lnSpc>
              <a:spcBef>
                <a:spcPts val="560"/>
              </a:spcBef>
            </a:pPr>
            <a:r>
              <a:rPr spc="-10" dirty="0"/>
              <a:t>#SCS2025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500" b="0" i="0">
                <a:solidFill>
                  <a:srgbClr val="4EBDC5"/>
                </a:solidFill>
                <a:latin typeface="Oswald Medium"/>
                <a:cs typeface="Oswald Medium"/>
              </a:defRPr>
            </a:lvl1pPr>
          </a:lstStyle>
          <a:p>
            <a:pPr marL="12700">
              <a:lnSpc>
                <a:spcPct val="100000"/>
              </a:lnSpc>
              <a:spcBef>
                <a:spcPts val="390"/>
              </a:spcBef>
            </a:pPr>
            <a:r>
              <a:rPr dirty="0"/>
              <a:t>SOUTH</a:t>
            </a:r>
            <a:r>
              <a:rPr spc="-50" dirty="0"/>
              <a:t> </a:t>
            </a:r>
            <a:r>
              <a:rPr dirty="0"/>
              <a:t>COAST</a:t>
            </a:r>
            <a:r>
              <a:rPr spc="-50" dirty="0"/>
              <a:t> </a:t>
            </a:r>
            <a:r>
              <a:rPr spc="-10" dirty="0"/>
              <a:t>SUMMIT</a:t>
            </a:r>
          </a:p>
          <a:p>
            <a:pPr marL="12700">
              <a:lnSpc>
                <a:spcPct val="100000"/>
              </a:lnSpc>
              <a:spcBef>
                <a:spcPts val="200"/>
              </a:spcBef>
            </a:pPr>
            <a:r>
              <a:rPr dirty="0">
                <a:solidFill>
                  <a:srgbClr val="FFFFFF"/>
                </a:solidFill>
              </a:rPr>
              <a:t>A</a:t>
            </a:r>
            <a:r>
              <a:rPr spc="-40" dirty="0">
                <a:solidFill>
                  <a:srgbClr val="FFFFFF"/>
                </a:solidFill>
              </a:rPr>
              <a:t> </a:t>
            </a:r>
            <a:r>
              <a:rPr dirty="0">
                <a:solidFill>
                  <a:srgbClr val="FFFFFF"/>
                </a:solidFill>
              </a:rPr>
              <a:t>CLOUD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TECHNOLOGY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dirty="0">
                <a:solidFill>
                  <a:srgbClr val="FFFFFF"/>
                </a:solidFill>
              </a:rPr>
              <a:t>COMMUNITY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CONFERENCE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41546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500" b="1" i="0">
                <a:solidFill>
                  <a:schemeClr val="bg1"/>
                </a:solidFill>
                <a:latin typeface="Oswald SemiBold"/>
                <a:cs typeface="Oswald 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917" y="1577340"/>
            <a:ext cx="5306282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82150" y="1577340"/>
            <a:ext cx="5306282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chemeClr val="bg1"/>
                </a:solidFill>
                <a:latin typeface="Oswald Medium"/>
                <a:cs typeface="Oswald Medium"/>
              </a:defRPr>
            </a:lvl1pPr>
          </a:lstStyle>
          <a:p>
            <a:pPr marL="12700">
              <a:lnSpc>
                <a:spcPct val="100000"/>
              </a:lnSpc>
              <a:spcBef>
                <a:spcPts val="560"/>
              </a:spcBef>
            </a:pPr>
            <a:r>
              <a:rPr spc="-10" dirty="0"/>
              <a:t>#SCS2025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500" b="0" i="0">
                <a:solidFill>
                  <a:srgbClr val="4EBDC5"/>
                </a:solidFill>
                <a:latin typeface="Oswald Medium"/>
                <a:cs typeface="Oswald Medium"/>
              </a:defRPr>
            </a:lvl1pPr>
          </a:lstStyle>
          <a:p>
            <a:pPr marL="12700">
              <a:lnSpc>
                <a:spcPct val="100000"/>
              </a:lnSpc>
              <a:spcBef>
                <a:spcPts val="390"/>
              </a:spcBef>
            </a:pPr>
            <a:r>
              <a:rPr dirty="0"/>
              <a:t>SOUTH</a:t>
            </a:r>
            <a:r>
              <a:rPr spc="-50" dirty="0"/>
              <a:t> </a:t>
            </a:r>
            <a:r>
              <a:rPr dirty="0"/>
              <a:t>COAST</a:t>
            </a:r>
            <a:r>
              <a:rPr spc="-50" dirty="0"/>
              <a:t> </a:t>
            </a:r>
            <a:r>
              <a:rPr spc="-10" dirty="0"/>
              <a:t>SUMMIT</a:t>
            </a:r>
          </a:p>
          <a:p>
            <a:pPr marL="12700">
              <a:lnSpc>
                <a:spcPct val="100000"/>
              </a:lnSpc>
              <a:spcBef>
                <a:spcPts val="200"/>
              </a:spcBef>
            </a:pPr>
            <a:r>
              <a:rPr dirty="0">
                <a:solidFill>
                  <a:srgbClr val="FFFFFF"/>
                </a:solidFill>
              </a:rPr>
              <a:t>A</a:t>
            </a:r>
            <a:r>
              <a:rPr spc="-40" dirty="0">
                <a:solidFill>
                  <a:srgbClr val="FFFFFF"/>
                </a:solidFill>
              </a:rPr>
              <a:t> </a:t>
            </a:r>
            <a:r>
              <a:rPr dirty="0">
                <a:solidFill>
                  <a:srgbClr val="FFFFFF"/>
                </a:solidFill>
              </a:rPr>
              <a:t>CLOUD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TECHNOLOGY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dirty="0">
                <a:solidFill>
                  <a:srgbClr val="FFFFFF"/>
                </a:solidFill>
              </a:rPr>
              <a:t>COMMUNITY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CONFERENCE</a:t>
            </a: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06044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500" b="1" i="0">
                <a:solidFill>
                  <a:schemeClr val="bg1"/>
                </a:solidFill>
                <a:latin typeface="Oswald SemiBold"/>
                <a:cs typeface="Oswald 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chemeClr val="bg1"/>
                </a:solidFill>
                <a:latin typeface="Oswald Medium"/>
                <a:cs typeface="Oswald Medium"/>
              </a:defRPr>
            </a:lvl1pPr>
          </a:lstStyle>
          <a:p>
            <a:pPr marL="12700">
              <a:lnSpc>
                <a:spcPct val="100000"/>
              </a:lnSpc>
              <a:spcBef>
                <a:spcPts val="560"/>
              </a:spcBef>
            </a:pPr>
            <a:r>
              <a:rPr spc="-10" dirty="0"/>
              <a:t>#SCS2025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500" b="0" i="0">
                <a:solidFill>
                  <a:srgbClr val="4EBDC5"/>
                </a:solidFill>
                <a:latin typeface="Oswald Medium"/>
                <a:cs typeface="Oswald Medium"/>
              </a:defRPr>
            </a:lvl1pPr>
          </a:lstStyle>
          <a:p>
            <a:pPr marL="12700">
              <a:lnSpc>
                <a:spcPct val="100000"/>
              </a:lnSpc>
              <a:spcBef>
                <a:spcPts val="390"/>
              </a:spcBef>
            </a:pPr>
            <a:r>
              <a:rPr dirty="0"/>
              <a:t>SOUTH</a:t>
            </a:r>
            <a:r>
              <a:rPr spc="-50" dirty="0"/>
              <a:t> </a:t>
            </a:r>
            <a:r>
              <a:rPr dirty="0"/>
              <a:t>COAST</a:t>
            </a:r>
            <a:r>
              <a:rPr spc="-50" dirty="0"/>
              <a:t> </a:t>
            </a:r>
            <a:r>
              <a:rPr spc="-10" dirty="0"/>
              <a:t>SUMMIT</a:t>
            </a:r>
          </a:p>
          <a:p>
            <a:pPr marL="12700">
              <a:lnSpc>
                <a:spcPct val="100000"/>
              </a:lnSpc>
              <a:spcBef>
                <a:spcPts val="200"/>
              </a:spcBef>
            </a:pPr>
            <a:r>
              <a:rPr dirty="0">
                <a:solidFill>
                  <a:srgbClr val="FFFFFF"/>
                </a:solidFill>
              </a:rPr>
              <a:t>A</a:t>
            </a:r>
            <a:r>
              <a:rPr spc="-40" dirty="0">
                <a:solidFill>
                  <a:srgbClr val="FFFFFF"/>
                </a:solidFill>
              </a:rPr>
              <a:t> </a:t>
            </a:r>
            <a:r>
              <a:rPr dirty="0">
                <a:solidFill>
                  <a:srgbClr val="FFFFFF"/>
                </a:solidFill>
              </a:rPr>
              <a:t>CLOUD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TECHNOLOGY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dirty="0">
                <a:solidFill>
                  <a:srgbClr val="FFFFFF"/>
                </a:solidFill>
              </a:rPr>
              <a:t>COMMUNITY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CONFERENCE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09074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3">
            <a:extLst>
              <a:ext uri="{FF2B5EF4-FFF2-40B4-BE49-F238E27FC236}">
                <a16:creationId xmlns:a16="http://schemas.microsoft.com/office/drawing/2014/main" id="{2C75D237-F03B-ADE7-CB82-DD3A4178AF9F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911322" y="0"/>
            <a:ext cx="3281870" cy="3806391"/>
          </a:xfrm>
          <a:prstGeom prst="rect">
            <a:avLst/>
          </a:prstGeom>
        </p:spPr>
      </p:pic>
      <p:sp>
        <p:nvSpPr>
          <p:cNvPr id="6" name="object 4">
            <a:extLst>
              <a:ext uri="{FF2B5EF4-FFF2-40B4-BE49-F238E27FC236}">
                <a16:creationId xmlns:a16="http://schemas.microsoft.com/office/drawing/2014/main" id="{B5B1D4CD-C3BF-D5DB-954B-CE2AF31AB411}"/>
              </a:ext>
            </a:extLst>
          </p:cNvPr>
          <p:cNvSpPr txBox="1">
            <a:spLocks noGrp="1"/>
          </p:cNvSpPr>
          <p:nvPr>
            <p:ph type="dt" sz="half" idx="6"/>
          </p:nvPr>
        </p:nvSpPr>
        <p:spPr>
          <a:xfrm>
            <a:off x="527300" y="5774298"/>
            <a:ext cx="3644265" cy="537327"/>
          </a:xfrm>
          <a:prstGeom prst="rect">
            <a:avLst/>
          </a:prstGeom>
        </p:spPr>
        <p:txBody>
          <a:bodyPr vert="horz" wrap="square" lIns="0" tIns="49530" rIns="0" bIns="0" rtlCol="0">
            <a:spAutoFit/>
          </a:bodyPr>
          <a:lstStyle/>
          <a:p>
            <a:pPr marL="12700">
              <a:spcBef>
                <a:spcPts val="390"/>
              </a:spcBef>
            </a:pPr>
            <a:r>
              <a:rPr lang="en-GB" kern="0" dirty="0"/>
              <a:t>SOUTH</a:t>
            </a:r>
            <a:r>
              <a:rPr lang="en-GB" kern="0" spc="-50" dirty="0"/>
              <a:t> </a:t>
            </a:r>
            <a:r>
              <a:rPr lang="en-GB" kern="0" dirty="0"/>
              <a:t>COAST</a:t>
            </a:r>
            <a:r>
              <a:rPr lang="en-GB" kern="0" spc="-50" dirty="0"/>
              <a:t> </a:t>
            </a:r>
            <a:r>
              <a:rPr lang="en-GB" kern="0" spc="-10" dirty="0"/>
              <a:t>SUMMIT</a:t>
            </a:r>
          </a:p>
          <a:p>
            <a:pPr marL="12700">
              <a:spcBef>
                <a:spcPts val="200"/>
              </a:spcBef>
            </a:pPr>
            <a:r>
              <a:rPr lang="en-GB" kern="0" dirty="0">
                <a:solidFill>
                  <a:srgbClr val="002060"/>
                </a:solidFill>
              </a:rPr>
              <a:t>A</a:t>
            </a:r>
            <a:r>
              <a:rPr lang="en-GB" kern="0" spc="-40" dirty="0">
                <a:solidFill>
                  <a:srgbClr val="002060"/>
                </a:solidFill>
              </a:rPr>
              <a:t> </a:t>
            </a:r>
            <a:r>
              <a:rPr lang="en-GB" kern="0" dirty="0">
                <a:solidFill>
                  <a:srgbClr val="002060"/>
                </a:solidFill>
              </a:rPr>
              <a:t>CLOUD</a:t>
            </a:r>
            <a:r>
              <a:rPr lang="en-GB" kern="0" spc="-35" dirty="0">
                <a:solidFill>
                  <a:srgbClr val="002060"/>
                </a:solidFill>
              </a:rPr>
              <a:t> </a:t>
            </a:r>
            <a:r>
              <a:rPr lang="en-GB" kern="0" spc="-10" dirty="0">
                <a:solidFill>
                  <a:srgbClr val="002060"/>
                </a:solidFill>
              </a:rPr>
              <a:t>TECHNOLOGY</a:t>
            </a:r>
            <a:r>
              <a:rPr lang="en-GB" kern="0" spc="-35" dirty="0">
                <a:solidFill>
                  <a:srgbClr val="002060"/>
                </a:solidFill>
              </a:rPr>
              <a:t> </a:t>
            </a:r>
            <a:r>
              <a:rPr lang="en-GB" kern="0" dirty="0">
                <a:solidFill>
                  <a:srgbClr val="002060"/>
                </a:solidFill>
              </a:rPr>
              <a:t>COMMUNITY</a:t>
            </a:r>
            <a:r>
              <a:rPr lang="en-GB" kern="0" spc="-35" dirty="0">
                <a:solidFill>
                  <a:srgbClr val="002060"/>
                </a:solidFill>
              </a:rPr>
              <a:t> </a:t>
            </a:r>
            <a:r>
              <a:rPr lang="en-GB" kern="0" spc="-10" dirty="0">
                <a:solidFill>
                  <a:srgbClr val="002060"/>
                </a:solidFill>
              </a:rPr>
              <a:t>CONFERENC</a:t>
            </a:r>
            <a:r>
              <a:rPr lang="en-GB" kern="0" spc="-10" dirty="0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3CDDCDEE-EAA0-A9AD-B04F-FF6B72E58CF4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0403032" y="5891297"/>
            <a:ext cx="1263015" cy="441146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>
            <a:lvl1pPr>
              <a:defRPr>
                <a:solidFill>
                  <a:srgbClr val="334D6A"/>
                </a:solidFill>
              </a:defRPr>
            </a:lvl1pPr>
          </a:lstStyle>
          <a:p>
            <a:pPr marL="12700">
              <a:spcBef>
                <a:spcPts val="560"/>
              </a:spcBef>
            </a:pPr>
            <a:r>
              <a:rPr lang="en-GB" kern="0" spc="-10" dirty="0"/>
              <a:t>#SCS2025</a:t>
            </a:r>
          </a:p>
        </p:txBody>
      </p:sp>
    </p:spTree>
    <p:extLst>
      <p:ext uri="{BB962C8B-B14F-4D97-AF65-F5344CB8AC3E}">
        <p14:creationId xmlns:p14="http://schemas.microsoft.com/office/powerpoint/2010/main" val="654392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5771B9C-7F80-112D-55FE-96A7F1D57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Blue text on a black background&#10;&#10;AI-generated content may be incorrect.">
            <a:extLst>
              <a:ext uri="{FF2B5EF4-FFF2-40B4-BE49-F238E27FC236}">
                <a16:creationId xmlns:a16="http://schemas.microsoft.com/office/drawing/2014/main" id="{C268DB5E-29D3-B5B6-0FEE-60C561F465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6625" y="2277110"/>
            <a:ext cx="4569872" cy="2020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79051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259642E-DAE4-3CDB-B869-A1EB3385AC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0"/>
            <a:ext cx="5577840" cy="1107996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0E4987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399"/>
            <a:ext cx="4480560" cy="548640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10" name="MS logo gray - EMF" descr="Microsoft logo, gray text version">
            <a:extLst>
              <a:ext uri="{FF2B5EF4-FFF2-40B4-BE49-F238E27FC236}">
                <a16:creationId xmlns:a16="http://schemas.microsoft.com/office/drawing/2014/main" id="{0B239259-0303-68D8-B73B-ADBE8E17A7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0556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eaker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exagon 17">
            <a:extLst>
              <a:ext uri="{FF2B5EF4-FFF2-40B4-BE49-F238E27FC236}">
                <a16:creationId xmlns:a16="http://schemas.microsoft.com/office/drawing/2014/main" id="{18B06ECC-5FA7-4ACA-86BF-694240D0C05B}"/>
              </a:ext>
            </a:extLst>
          </p:cNvPr>
          <p:cNvSpPr/>
          <p:nvPr userDrawn="1"/>
        </p:nvSpPr>
        <p:spPr>
          <a:xfrm>
            <a:off x="412218" y="1119692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Hexagon 19">
            <a:extLst>
              <a:ext uri="{FF2B5EF4-FFF2-40B4-BE49-F238E27FC236}">
                <a16:creationId xmlns:a16="http://schemas.microsoft.com/office/drawing/2014/main" id="{089AA305-8FFC-46A5-B806-D5D78320D0CD}"/>
              </a:ext>
            </a:extLst>
          </p:cNvPr>
          <p:cNvSpPr/>
          <p:nvPr userDrawn="1"/>
        </p:nvSpPr>
        <p:spPr>
          <a:xfrm>
            <a:off x="1580070" y="1812437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2" name="Hexagon 21">
            <a:extLst>
              <a:ext uri="{FF2B5EF4-FFF2-40B4-BE49-F238E27FC236}">
                <a16:creationId xmlns:a16="http://schemas.microsoft.com/office/drawing/2014/main" id="{DB2D65ED-32BC-44B2-92F3-E16717051CA1}"/>
              </a:ext>
            </a:extLst>
          </p:cNvPr>
          <p:cNvSpPr/>
          <p:nvPr userDrawn="1"/>
        </p:nvSpPr>
        <p:spPr>
          <a:xfrm>
            <a:off x="3953935" y="3182793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4" name="Freeform 43">
            <a:extLst>
              <a:ext uri="{FF2B5EF4-FFF2-40B4-BE49-F238E27FC236}">
                <a16:creationId xmlns:a16="http://schemas.microsoft.com/office/drawing/2014/main" id="{6100186E-95B0-AB29-6F1D-DBFBAA566DB2}"/>
              </a:ext>
            </a:extLst>
          </p:cNvPr>
          <p:cNvSpPr/>
          <p:nvPr userDrawn="1"/>
        </p:nvSpPr>
        <p:spPr>
          <a:xfrm>
            <a:off x="3955762" y="5952136"/>
            <a:ext cx="1455521" cy="932559"/>
          </a:xfrm>
          <a:custGeom>
            <a:avLst/>
            <a:gdLst>
              <a:gd name="connsiteX0" fmla="*/ 359906 w 1455521"/>
              <a:gd name="connsiteY0" fmla="*/ 0 h 932559"/>
              <a:gd name="connsiteX1" fmla="*/ 1095615 w 1455521"/>
              <a:gd name="connsiteY1" fmla="*/ 0 h 932559"/>
              <a:gd name="connsiteX2" fmla="*/ 1455521 w 1455521"/>
              <a:gd name="connsiteY2" fmla="*/ 633348 h 932559"/>
              <a:gd name="connsiteX3" fmla="*/ 1285492 w 1455521"/>
              <a:gd name="connsiteY3" fmla="*/ 932559 h 932559"/>
              <a:gd name="connsiteX4" fmla="*/ 170030 w 1455521"/>
              <a:gd name="connsiteY4" fmla="*/ 932559 h 932559"/>
              <a:gd name="connsiteX5" fmla="*/ 0 w 1455521"/>
              <a:gd name="connsiteY5" fmla="*/ 633348 h 932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5521" h="932559">
                <a:moveTo>
                  <a:pt x="359906" y="0"/>
                </a:moveTo>
                <a:lnTo>
                  <a:pt x="1095615" y="0"/>
                </a:lnTo>
                <a:lnTo>
                  <a:pt x="1455521" y="633348"/>
                </a:lnTo>
                <a:lnTo>
                  <a:pt x="1285492" y="932559"/>
                </a:lnTo>
                <a:lnTo>
                  <a:pt x="170030" y="932559"/>
                </a:lnTo>
                <a:lnTo>
                  <a:pt x="0" y="633348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4" name="Hexagon 27">
            <a:extLst>
              <a:ext uri="{FF2B5EF4-FFF2-40B4-BE49-F238E27FC236}">
                <a16:creationId xmlns:a16="http://schemas.microsoft.com/office/drawing/2014/main" id="{5275D449-7441-440B-8584-96D25256F24D}"/>
              </a:ext>
            </a:extLst>
          </p:cNvPr>
          <p:cNvSpPr/>
          <p:nvPr userDrawn="1"/>
        </p:nvSpPr>
        <p:spPr>
          <a:xfrm>
            <a:off x="2767218" y="5253832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rgbClr val="E951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5" name="Hexagon 28">
            <a:extLst>
              <a:ext uri="{FF2B5EF4-FFF2-40B4-BE49-F238E27FC236}">
                <a16:creationId xmlns:a16="http://schemas.microsoft.com/office/drawing/2014/main" id="{94CFCD79-F5CD-4175-96DE-1AC2E1999DB6}"/>
              </a:ext>
            </a:extLst>
          </p:cNvPr>
          <p:cNvSpPr/>
          <p:nvPr userDrawn="1"/>
        </p:nvSpPr>
        <p:spPr>
          <a:xfrm>
            <a:off x="2767144" y="3880620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8" name="Hexagon 31">
            <a:extLst>
              <a:ext uri="{FF2B5EF4-FFF2-40B4-BE49-F238E27FC236}">
                <a16:creationId xmlns:a16="http://schemas.microsoft.com/office/drawing/2014/main" id="{61BB4AB0-7C5C-4697-A25B-0AFD8754AB52}"/>
              </a:ext>
            </a:extLst>
          </p:cNvPr>
          <p:cNvSpPr/>
          <p:nvPr userDrawn="1"/>
        </p:nvSpPr>
        <p:spPr>
          <a:xfrm>
            <a:off x="1580353" y="3182793"/>
            <a:ext cx="1455521" cy="1266696"/>
          </a:xfrm>
          <a:prstGeom prst="hexagon">
            <a:avLst>
              <a:gd name="adj" fmla="val 28413"/>
              <a:gd name="vf" fmla="val 115470"/>
            </a:avLst>
          </a:pr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6" name="Freeform 45">
            <a:extLst>
              <a:ext uri="{FF2B5EF4-FFF2-40B4-BE49-F238E27FC236}">
                <a16:creationId xmlns:a16="http://schemas.microsoft.com/office/drawing/2014/main" id="{2363FF00-E570-D743-258E-E9FEF4F02A08}"/>
              </a:ext>
            </a:extLst>
          </p:cNvPr>
          <p:cNvSpPr/>
          <p:nvPr userDrawn="1"/>
        </p:nvSpPr>
        <p:spPr>
          <a:xfrm>
            <a:off x="6334981" y="5962237"/>
            <a:ext cx="1455521" cy="901561"/>
          </a:xfrm>
          <a:custGeom>
            <a:avLst/>
            <a:gdLst>
              <a:gd name="connsiteX0" fmla="*/ 359906 w 1455521"/>
              <a:gd name="connsiteY0" fmla="*/ 0 h 901561"/>
              <a:gd name="connsiteX1" fmla="*/ 1095615 w 1455521"/>
              <a:gd name="connsiteY1" fmla="*/ 0 h 901561"/>
              <a:gd name="connsiteX2" fmla="*/ 1455521 w 1455521"/>
              <a:gd name="connsiteY2" fmla="*/ 633348 h 901561"/>
              <a:gd name="connsiteX3" fmla="*/ 1303107 w 1455521"/>
              <a:gd name="connsiteY3" fmla="*/ 901561 h 901561"/>
              <a:gd name="connsiteX4" fmla="*/ 152415 w 1455521"/>
              <a:gd name="connsiteY4" fmla="*/ 901561 h 901561"/>
              <a:gd name="connsiteX5" fmla="*/ 0 w 1455521"/>
              <a:gd name="connsiteY5" fmla="*/ 633348 h 901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5521" h="901561">
                <a:moveTo>
                  <a:pt x="359906" y="0"/>
                </a:moveTo>
                <a:lnTo>
                  <a:pt x="1095615" y="0"/>
                </a:lnTo>
                <a:lnTo>
                  <a:pt x="1455521" y="633348"/>
                </a:lnTo>
                <a:lnTo>
                  <a:pt x="1303107" y="901561"/>
                </a:lnTo>
                <a:lnTo>
                  <a:pt x="152415" y="901561"/>
                </a:lnTo>
                <a:lnTo>
                  <a:pt x="0" y="633348"/>
                </a:lnTo>
                <a:close/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8" name="Content Placeholder 47">
            <a:extLst>
              <a:ext uri="{FF2B5EF4-FFF2-40B4-BE49-F238E27FC236}">
                <a16:creationId xmlns:a16="http://schemas.microsoft.com/office/drawing/2014/main" id="{073CD90F-1E45-47EC-B558-D5F638F5FE6F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647014" y="1970576"/>
            <a:ext cx="5090616" cy="4511206"/>
          </a:xfrm>
          <a:prstGeom prst="hexagon">
            <a:avLst>
              <a:gd name="adj" fmla="val 28349"/>
              <a:gd name="vf" fmla="val 115470"/>
            </a:avLst>
          </a:prstGeom>
          <a:ln w="38100">
            <a:gradFill>
              <a:gsLst>
                <a:gs pos="0">
                  <a:srgbClr val="00E0D0"/>
                </a:gs>
                <a:gs pos="100000">
                  <a:srgbClr val="7363A8"/>
                </a:gs>
              </a:gsLst>
              <a:lin ang="5400000" scaled="1"/>
            </a:gradFill>
            <a:prstDash val="dash"/>
          </a:ln>
        </p:spPr>
        <p:txBody>
          <a:bodyPr>
            <a:noAutofit/>
          </a:bodyPr>
          <a:lstStyle>
            <a:lvl1pPr marL="0" indent="0" algn="ctr">
              <a:buFontTx/>
              <a:buNone/>
              <a:defRPr sz="1050">
                <a:solidFill>
                  <a:schemeClr val="accent6"/>
                </a:solidFill>
              </a:defRPr>
            </a:lvl1pPr>
          </a:lstStyle>
          <a:p>
            <a:r>
              <a:rPr lang="en-GB" altLang="zh-CN"/>
              <a:t>Click icon to add picture</a:t>
            </a:r>
            <a:endParaRPr lang="en-US" altLang="zh-CN" dirty="0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E3C8467A-0A34-2A65-92FE-F12F6A3D84A6}"/>
              </a:ext>
            </a:extLst>
          </p:cNvPr>
          <p:cNvSpPr/>
          <p:nvPr userDrawn="1"/>
        </p:nvSpPr>
        <p:spPr>
          <a:xfrm>
            <a:off x="-6538" y="1815084"/>
            <a:ext cx="697438" cy="1266696"/>
          </a:xfrm>
          <a:custGeom>
            <a:avLst/>
            <a:gdLst>
              <a:gd name="connsiteX0" fmla="*/ 0 w 732607"/>
              <a:gd name="connsiteY0" fmla="*/ 0 h 1266696"/>
              <a:gd name="connsiteX1" fmla="*/ 372701 w 732607"/>
              <a:gd name="connsiteY1" fmla="*/ 0 h 1266696"/>
              <a:gd name="connsiteX2" fmla="*/ 732607 w 732607"/>
              <a:gd name="connsiteY2" fmla="*/ 633348 h 1266696"/>
              <a:gd name="connsiteX3" fmla="*/ 372701 w 732607"/>
              <a:gd name="connsiteY3" fmla="*/ 1266696 h 1266696"/>
              <a:gd name="connsiteX4" fmla="*/ 0 w 732607"/>
              <a:gd name="connsiteY4" fmla="*/ 1266696 h 1266696"/>
              <a:gd name="connsiteX0" fmla="*/ 43961 w 732607"/>
              <a:gd name="connsiteY0" fmla="*/ 8793 h 1266696"/>
              <a:gd name="connsiteX1" fmla="*/ 372701 w 732607"/>
              <a:gd name="connsiteY1" fmla="*/ 0 h 1266696"/>
              <a:gd name="connsiteX2" fmla="*/ 732607 w 732607"/>
              <a:gd name="connsiteY2" fmla="*/ 633348 h 1266696"/>
              <a:gd name="connsiteX3" fmla="*/ 372701 w 732607"/>
              <a:gd name="connsiteY3" fmla="*/ 1266696 h 1266696"/>
              <a:gd name="connsiteX4" fmla="*/ 0 w 732607"/>
              <a:gd name="connsiteY4" fmla="*/ 1266696 h 1266696"/>
              <a:gd name="connsiteX5" fmla="*/ 43961 w 732607"/>
              <a:gd name="connsiteY5" fmla="*/ 8793 h 1266696"/>
              <a:gd name="connsiteX0" fmla="*/ 8792 w 697438"/>
              <a:gd name="connsiteY0" fmla="*/ 8793 h 1266696"/>
              <a:gd name="connsiteX1" fmla="*/ 337532 w 697438"/>
              <a:gd name="connsiteY1" fmla="*/ 0 h 1266696"/>
              <a:gd name="connsiteX2" fmla="*/ 697438 w 697438"/>
              <a:gd name="connsiteY2" fmla="*/ 633348 h 1266696"/>
              <a:gd name="connsiteX3" fmla="*/ 337532 w 697438"/>
              <a:gd name="connsiteY3" fmla="*/ 1266696 h 1266696"/>
              <a:gd name="connsiteX4" fmla="*/ 0 w 697438"/>
              <a:gd name="connsiteY4" fmla="*/ 1266696 h 1266696"/>
              <a:gd name="connsiteX5" fmla="*/ 8792 w 697438"/>
              <a:gd name="connsiteY5" fmla="*/ 8793 h 1266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7438" h="1266696">
                <a:moveTo>
                  <a:pt x="8792" y="8793"/>
                </a:moveTo>
                <a:lnTo>
                  <a:pt x="337532" y="0"/>
                </a:lnTo>
                <a:lnTo>
                  <a:pt x="697438" y="633348"/>
                </a:lnTo>
                <a:lnTo>
                  <a:pt x="337532" y="1266696"/>
                </a:lnTo>
                <a:lnTo>
                  <a:pt x="0" y="1266696"/>
                </a:lnTo>
                <a:cubicBezTo>
                  <a:pt x="0" y="844464"/>
                  <a:pt x="8792" y="431025"/>
                  <a:pt x="8792" y="8793"/>
                </a:cubicBezTo>
                <a:close/>
              </a:path>
            </a:pathLst>
          </a:custGeom>
          <a:noFill/>
          <a:ln w="19050">
            <a:solidFill>
              <a:srgbClr val="E951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B3D54F5-515B-48DC-585D-B61486F471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700454">
            <a:off x="1625647" y="3395656"/>
            <a:ext cx="996434" cy="78391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F7FA47E-4664-45A8-4B41-5B8CBAC60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8" y="574998"/>
            <a:ext cx="8648689" cy="875820"/>
          </a:xfrm>
          <a:solidFill>
            <a:schemeClr val="bg1"/>
          </a:solidFill>
        </p:spPr>
        <p:txBody>
          <a:bodyPr lIns="216000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 dirty="0"/>
          </a:p>
        </p:txBody>
      </p:sp>
      <p:cxnSp>
        <p:nvCxnSpPr>
          <p:cNvPr id="4" name="Straight Connector 2">
            <a:extLst>
              <a:ext uri="{FF2B5EF4-FFF2-40B4-BE49-F238E27FC236}">
                <a16:creationId xmlns:a16="http://schemas.microsoft.com/office/drawing/2014/main" id="{280C14CD-9862-CB6B-2EE0-10F9117D9B01}"/>
              </a:ext>
            </a:extLst>
          </p:cNvPr>
          <p:cNvCxnSpPr/>
          <p:nvPr userDrawn="1"/>
        </p:nvCxnSpPr>
        <p:spPr>
          <a:xfrm>
            <a:off x="3653870" y="1457953"/>
            <a:ext cx="0" cy="760288"/>
          </a:xfrm>
          <a:prstGeom prst="line">
            <a:avLst/>
          </a:prstGeom>
          <a:noFill/>
          <a:ln w="19050" cap="flat" cmpd="sng" algn="ctr">
            <a:solidFill>
              <a:srgbClr val="00E0D0"/>
            </a:solidFill>
            <a:prstDash val="solid"/>
            <a:miter lim="800000"/>
          </a:ln>
          <a:effectLst/>
        </p:spPr>
      </p:cxnSp>
      <p:sp>
        <p:nvSpPr>
          <p:cNvPr id="5" name="Content placeholder 47" descr="Click icon to add picture">
            <a:extLst>
              <a:ext uri="{FF2B5EF4-FFF2-40B4-BE49-F238E27FC236}">
                <a16:creationId xmlns:a16="http://schemas.microsoft.com/office/drawing/2014/main" id="{AAD6B003-53D4-3514-1A45-9D624D5FE6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26352" y="1457953"/>
            <a:ext cx="3857488" cy="7602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/>
              <a:t>Click to edit Master title style </a:t>
            </a:r>
          </a:p>
        </p:txBody>
      </p:sp>
      <p:sp>
        <p:nvSpPr>
          <p:cNvPr id="2" name="Content placeholder 47" descr="Click icon to add picture">
            <a:extLst>
              <a:ext uri="{FF2B5EF4-FFF2-40B4-BE49-F238E27FC236}">
                <a16:creationId xmlns:a16="http://schemas.microsoft.com/office/drawing/2014/main" id="{BA67F8FE-4FA9-AC23-4081-81C73DAD05F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086120" y="3344033"/>
            <a:ext cx="1191149" cy="9442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 dirty="0"/>
              <a:t>Click to add interest</a:t>
            </a:r>
          </a:p>
        </p:txBody>
      </p:sp>
      <p:sp>
        <p:nvSpPr>
          <p:cNvPr id="6" name="Content placeholder 47" descr="Click icon to add picture">
            <a:extLst>
              <a:ext uri="{FF2B5EF4-FFF2-40B4-BE49-F238E27FC236}">
                <a16:creationId xmlns:a16="http://schemas.microsoft.com/office/drawing/2014/main" id="{E5A135DB-702E-70AE-1CB1-ED2509ACFCD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712255" y="1967335"/>
            <a:ext cx="1191149" cy="9442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 dirty="0"/>
              <a:t>Click to add interest</a:t>
            </a:r>
          </a:p>
        </p:txBody>
      </p:sp>
      <p:sp>
        <p:nvSpPr>
          <p:cNvPr id="7" name="Content placeholder 47" descr="Click icon to add picture">
            <a:extLst>
              <a:ext uri="{FF2B5EF4-FFF2-40B4-BE49-F238E27FC236}">
                <a16:creationId xmlns:a16="http://schemas.microsoft.com/office/drawing/2014/main" id="{78434FD1-4E84-45F9-5192-D8707080113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897021" y="4022012"/>
            <a:ext cx="1191149" cy="9442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noProof="0" dirty="0"/>
              <a:t>Click to add interest</a:t>
            </a:r>
          </a:p>
        </p:txBody>
      </p:sp>
    </p:spTree>
    <p:extLst>
      <p:ext uri="{BB962C8B-B14F-4D97-AF65-F5344CB8AC3E}">
        <p14:creationId xmlns:p14="http://schemas.microsoft.com/office/powerpoint/2010/main" val="41752918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3B0D12AE-ADCF-1091-117F-BB03F7EC50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69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1 - Light with title">
    <p:bg>
      <p:bgPr>
        <a:solidFill>
          <a:srgbClr val="F5F5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3DD82-FC40-C843-193F-F757422AB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56714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1 - Light with title left">
    <p:bg>
      <p:bgPr>
        <a:solidFill>
          <a:srgbClr val="F5F5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3DD82-FC40-C843-193F-F757422AB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2875002"/>
            <a:ext cx="4123944" cy="1106424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3491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1 - Light blank">
    <p:bg>
      <p:bgPr>
        <a:solidFill>
          <a:srgbClr val="F5F5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5966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986779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5811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7834892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623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2513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41785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ons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" name="Rectangle 1049">
            <a:extLst>
              <a:ext uri="{FF2B5EF4-FFF2-40B4-BE49-F238E27FC236}">
                <a16:creationId xmlns:a16="http://schemas.microsoft.com/office/drawing/2014/main" id="{3A6F7A5C-2D1D-C582-30B8-C97B2ABB54B4}"/>
              </a:ext>
            </a:extLst>
          </p:cNvPr>
          <p:cNvSpPr/>
          <p:nvPr userDrawn="1"/>
        </p:nvSpPr>
        <p:spPr>
          <a:xfrm>
            <a:off x="-104447" y="1108779"/>
            <a:ext cx="12364904" cy="1683611"/>
          </a:xfrm>
          <a:prstGeom prst="rect">
            <a:avLst/>
          </a:prstGeom>
          <a:solidFill>
            <a:schemeClr val="tx2">
              <a:lumMod val="10000"/>
              <a:lumOff val="9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51" name="Rectangle 1050">
            <a:extLst>
              <a:ext uri="{FF2B5EF4-FFF2-40B4-BE49-F238E27FC236}">
                <a16:creationId xmlns:a16="http://schemas.microsoft.com/office/drawing/2014/main" id="{8866FD03-DBD5-2A56-944D-BEE35483C6AB}"/>
              </a:ext>
            </a:extLst>
          </p:cNvPr>
          <p:cNvSpPr/>
          <p:nvPr userDrawn="1"/>
        </p:nvSpPr>
        <p:spPr>
          <a:xfrm>
            <a:off x="-97554" y="5971382"/>
            <a:ext cx="12364904" cy="927597"/>
          </a:xfrm>
          <a:prstGeom prst="rect">
            <a:avLst/>
          </a:prstGeom>
          <a:solidFill>
            <a:schemeClr val="accent5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52" name="Rectangle 1051">
            <a:extLst>
              <a:ext uri="{FF2B5EF4-FFF2-40B4-BE49-F238E27FC236}">
                <a16:creationId xmlns:a16="http://schemas.microsoft.com/office/drawing/2014/main" id="{AB4BF2EF-A895-D48C-E781-6A1E2395371F}"/>
              </a:ext>
            </a:extLst>
          </p:cNvPr>
          <p:cNvSpPr/>
          <p:nvPr userDrawn="1"/>
        </p:nvSpPr>
        <p:spPr>
          <a:xfrm>
            <a:off x="-86452" y="2775449"/>
            <a:ext cx="12364904" cy="3192186"/>
          </a:xfrm>
          <a:prstGeom prst="rect">
            <a:avLst/>
          </a:prstGeom>
          <a:solidFill>
            <a:srgbClr val="E8D9B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C8D06CE-A618-1A1F-478E-D7FA4F763016}"/>
              </a:ext>
            </a:extLst>
          </p:cNvPr>
          <p:cNvSpPr/>
          <p:nvPr userDrawn="1"/>
        </p:nvSpPr>
        <p:spPr>
          <a:xfrm>
            <a:off x="6901206" y="0"/>
            <a:ext cx="3055233" cy="106537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4E2FF97-AE0E-9A02-77E4-FD87E01B2AA1}"/>
              </a:ext>
            </a:extLst>
          </p:cNvPr>
          <p:cNvSpPr txBox="1"/>
          <p:nvPr userDrawn="1"/>
        </p:nvSpPr>
        <p:spPr>
          <a:xfrm>
            <a:off x="7272462" y="695922"/>
            <a:ext cx="2452592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GB" sz="1200" b="1" dirty="0">
                <a:solidFill>
                  <a:schemeClr val="tx1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Headline Sponsor</a:t>
            </a:r>
          </a:p>
        </p:txBody>
      </p:sp>
      <p:sp>
        <p:nvSpPr>
          <p:cNvPr id="1054" name="Rectangle 1053">
            <a:extLst>
              <a:ext uri="{FF2B5EF4-FFF2-40B4-BE49-F238E27FC236}">
                <a16:creationId xmlns:a16="http://schemas.microsoft.com/office/drawing/2014/main" id="{062F316C-FCDD-4DB9-2071-6E4C48FC7C7D}"/>
              </a:ext>
            </a:extLst>
          </p:cNvPr>
          <p:cNvSpPr/>
          <p:nvPr userDrawn="1"/>
        </p:nvSpPr>
        <p:spPr>
          <a:xfrm>
            <a:off x="9956440" y="0"/>
            <a:ext cx="2235560" cy="1083256"/>
          </a:xfrm>
          <a:prstGeom prst="rect">
            <a:avLst/>
          </a:prstGeom>
          <a:solidFill>
            <a:srgbClr val="F6EE8A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62" name="TextBox 1061">
            <a:extLst>
              <a:ext uri="{FF2B5EF4-FFF2-40B4-BE49-F238E27FC236}">
                <a16:creationId xmlns:a16="http://schemas.microsoft.com/office/drawing/2014/main" id="{F1BCB37A-11E6-F24B-96B5-82DE8E2B8B0C}"/>
              </a:ext>
            </a:extLst>
          </p:cNvPr>
          <p:cNvSpPr txBox="1"/>
          <p:nvPr userDrawn="1"/>
        </p:nvSpPr>
        <p:spPr>
          <a:xfrm>
            <a:off x="9935455" y="713359"/>
            <a:ext cx="2256545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GB" sz="1200" b="1" dirty="0">
                <a:solidFill>
                  <a:schemeClr val="tx1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Community Sponsor</a:t>
            </a:r>
          </a:p>
        </p:txBody>
      </p:sp>
      <p:sp>
        <p:nvSpPr>
          <p:cNvPr id="1063" name="TextBox 1062">
            <a:extLst>
              <a:ext uri="{FF2B5EF4-FFF2-40B4-BE49-F238E27FC236}">
                <a16:creationId xmlns:a16="http://schemas.microsoft.com/office/drawing/2014/main" id="{7B547452-1DD3-73E8-A68F-88DACE5EA2BC}"/>
              </a:ext>
            </a:extLst>
          </p:cNvPr>
          <p:cNvSpPr txBox="1"/>
          <p:nvPr userDrawn="1"/>
        </p:nvSpPr>
        <p:spPr>
          <a:xfrm>
            <a:off x="11132" y="6001316"/>
            <a:ext cx="1958241" cy="276999"/>
          </a:xfrm>
          <a:prstGeom prst="rect">
            <a:avLst/>
          </a:prstGeom>
        </p:spPr>
        <p:txBody>
          <a:bodyPr wrap="square" lIns="180000" rtlCol="0">
            <a:sp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GB" sz="1200" b="1" dirty="0">
                <a:solidFill>
                  <a:schemeClr val="tx1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Supporting Sponsors</a:t>
            </a:r>
          </a:p>
        </p:txBody>
      </p:sp>
      <p:sp>
        <p:nvSpPr>
          <p:cNvPr id="1064" name="TextBox 1063">
            <a:extLst>
              <a:ext uri="{FF2B5EF4-FFF2-40B4-BE49-F238E27FC236}">
                <a16:creationId xmlns:a16="http://schemas.microsoft.com/office/drawing/2014/main" id="{E98FB500-44FA-2FE5-9C95-CDA021E817F1}"/>
              </a:ext>
            </a:extLst>
          </p:cNvPr>
          <p:cNvSpPr txBox="1"/>
          <p:nvPr userDrawn="1"/>
        </p:nvSpPr>
        <p:spPr>
          <a:xfrm>
            <a:off x="11132" y="2792015"/>
            <a:ext cx="1944172" cy="276999"/>
          </a:xfrm>
          <a:prstGeom prst="rect">
            <a:avLst/>
          </a:prstGeom>
        </p:spPr>
        <p:txBody>
          <a:bodyPr wrap="square" lIns="180000" rtlCol="0">
            <a:sp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GB" sz="1200" b="1" dirty="0">
                <a:solidFill>
                  <a:schemeClr val="tx1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Gold Sponsors</a:t>
            </a:r>
          </a:p>
        </p:txBody>
      </p:sp>
      <p:sp>
        <p:nvSpPr>
          <p:cNvPr id="1065" name="TextBox 1064">
            <a:extLst>
              <a:ext uri="{FF2B5EF4-FFF2-40B4-BE49-F238E27FC236}">
                <a16:creationId xmlns:a16="http://schemas.microsoft.com/office/drawing/2014/main" id="{33A75E38-8515-DE5E-7798-D001CD5F056B}"/>
              </a:ext>
            </a:extLst>
          </p:cNvPr>
          <p:cNvSpPr txBox="1"/>
          <p:nvPr userDrawn="1"/>
        </p:nvSpPr>
        <p:spPr>
          <a:xfrm>
            <a:off x="-10282" y="1116738"/>
            <a:ext cx="1979653" cy="276999"/>
          </a:xfrm>
          <a:prstGeom prst="rect">
            <a:avLst/>
          </a:prstGeom>
        </p:spPr>
        <p:txBody>
          <a:bodyPr wrap="square" lIns="180000" rtlCol="0">
            <a:sp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GB" sz="1200" b="1" dirty="0">
                <a:solidFill>
                  <a:schemeClr val="tx1"/>
                </a:solidFill>
                <a:latin typeface="Posterama" panose="020B0504020200020000" pitchFamily="34" charset="0"/>
                <a:ea typeface="微软雅黑"/>
                <a:cs typeface="Posterama" panose="020B0504020200020000" pitchFamily="34" charset="0"/>
              </a:rPr>
              <a:t>Platinum Sponsors</a:t>
            </a:r>
          </a:p>
        </p:txBody>
      </p:sp>
    </p:spTree>
    <p:extLst>
      <p:ext uri="{BB962C8B-B14F-4D97-AF65-F5344CB8AC3E}">
        <p14:creationId xmlns:p14="http://schemas.microsoft.com/office/powerpoint/2010/main" val="17349044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1477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7485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4700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2055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3610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6371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632798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2110364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128869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0081396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5518B595-5A04-0768-52B1-73F11E475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476" y="2826795"/>
            <a:ext cx="4253399" cy="1740114"/>
          </a:xfrm>
        </p:spPr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Freeform: Shape 4">
            <a:extLst>
              <a:ext uri="{FF2B5EF4-FFF2-40B4-BE49-F238E27FC236}">
                <a16:creationId xmlns:a16="http://schemas.microsoft.com/office/drawing/2014/main" id="{AE722AFD-22D7-4BD8-B055-3867C3800E16}"/>
              </a:ext>
            </a:extLst>
          </p:cNvPr>
          <p:cNvSpPr/>
          <p:nvPr userDrawn="1"/>
        </p:nvSpPr>
        <p:spPr>
          <a:xfrm>
            <a:off x="6282845" y="525294"/>
            <a:ext cx="1913128" cy="2140085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gradFill>
            <a:gsLst>
              <a:gs pos="100000">
                <a:srgbClr val="E7E6E6"/>
              </a:gs>
              <a:gs pos="0">
                <a:srgbClr val="00E0D0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D0355E4-3980-42A9-9376-74163520D39D}"/>
              </a:ext>
            </a:extLst>
          </p:cNvPr>
          <p:cNvSpPr/>
          <p:nvPr userDrawn="1"/>
        </p:nvSpPr>
        <p:spPr>
          <a:xfrm>
            <a:off x="8375472" y="496110"/>
            <a:ext cx="1913128" cy="215954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gradFill>
            <a:gsLst>
              <a:gs pos="100000">
                <a:srgbClr val="E7E6E6"/>
              </a:gs>
              <a:gs pos="0">
                <a:srgbClr val="00E0D0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0174533-8C0E-4E82-A582-891A0555FA1F}"/>
              </a:ext>
            </a:extLst>
          </p:cNvPr>
          <p:cNvSpPr/>
          <p:nvPr userDrawn="1"/>
        </p:nvSpPr>
        <p:spPr>
          <a:xfrm>
            <a:off x="7328126" y="2310315"/>
            <a:ext cx="1913128" cy="215954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gradFill>
            <a:gsLst>
              <a:gs pos="0">
                <a:srgbClr val="E7E6E6"/>
              </a:gs>
              <a:gs pos="100000">
                <a:srgbClr val="00E0D0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71E3938-A754-4D49-B509-249EE9BD83AB}"/>
              </a:ext>
            </a:extLst>
          </p:cNvPr>
          <p:cNvSpPr/>
          <p:nvPr userDrawn="1"/>
        </p:nvSpPr>
        <p:spPr>
          <a:xfrm>
            <a:off x="8375472" y="4095335"/>
            <a:ext cx="1913128" cy="215954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gradFill>
            <a:gsLst>
              <a:gs pos="100000">
                <a:srgbClr val="E7E6E6"/>
              </a:gs>
              <a:gs pos="0">
                <a:srgbClr val="00E0D0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9D430ED-A815-4274-966C-8192C4230569}"/>
              </a:ext>
            </a:extLst>
          </p:cNvPr>
          <p:cNvSpPr/>
          <p:nvPr userDrawn="1"/>
        </p:nvSpPr>
        <p:spPr>
          <a:xfrm>
            <a:off x="9403474" y="2310314"/>
            <a:ext cx="1913128" cy="215954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gradFill>
            <a:gsLst>
              <a:gs pos="0">
                <a:srgbClr val="E7E6E6"/>
              </a:gs>
              <a:gs pos="100000">
                <a:srgbClr val="00E0D0"/>
              </a:gs>
            </a:gsLst>
            <a:lin ang="54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4" name="Content placeholder 47" descr="Click icon to add picture">
            <a:extLst>
              <a:ext uri="{FF2B5EF4-FFF2-40B4-BE49-F238E27FC236}">
                <a16:creationId xmlns:a16="http://schemas.microsoft.com/office/drawing/2014/main" id="{5414CF94-2913-4AE7-AAC3-3D61FE742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4027" y="1076241"/>
            <a:ext cx="1913128" cy="105472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0" i="0">
                <a:solidFill>
                  <a:schemeClr val="accent6"/>
                </a:solidFill>
                <a:latin typeface="Abadi" panose="020B0604020104020204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</a:t>
            </a:r>
            <a:r>
              <a:rPr lang="zh-CN" altLang="en-US" dirty="0"/>
              <a:t> </a:t>
            </a:r>
            <a:r>
              <a:rPr lang="en-US" altLang="zh-CN" dirty="0"/>
              <a:t>Master title style </a:t>
            </a:r>
          </a:p>
        </p:txBody>
      </p:sp>
      <p:sp>
        <p:nvSpPr>
          <p:cNvPr id="26" name="Content placeholder 47" descr="Click icon to add picture">
            <a:extLst>
              <a:ext uri="{FF2B5EF4-FFF2-40B4-BE49-F238E27FC236}">
                <a16:creationId xmlns:a16="http://schemas.microsoft.com/office/drawing/2014/main" id="{3CE3485A-395E-4C5F-A00F-D230FF7CFB9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75472" y="1076241"/>
            <a:ext cx="1904890" cy="105472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0" i="0">
                <a:solidFill>
                  <a:schemeClr val="accent6"/>
                </a:solidFill>
                <a:latin typeface="Abadi" panose="020B0604020104020204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</a:t>
            </a:r>
            <a:r>
              <a:rPr lang="zh-CN" altLang="en-US" dirty="0"/>
              <a:t> </a:t>
            </a:r>
            <a:r>
              <a:rPr lang="en-US" altLang="zh-CN" dirty="0"/>
              <a:t>Master title style </a:t>
            </a:r>
          </a:p>
        </p:txBody>
      </p:sp>
      <p:sp>
        <p:nvSpPr>
          <p:cNvPr id="33" name="Content placeholder 47" descr="Click icon to add picture">
            <a:extLst>
              <a:ext uri="{FF2B5EF4-FFF2-40B4-BE49-F238E27FC236}">
                <a16:creationId xmlns:a16="http://schemas.microsoft.com/office/drawing/2014/main" id="{6A8DFBFF-5B07-49C6-ADB8-341FCD1E753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21949" y="2844725"/>
            <a:ext cx="1914694" cy="108919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0" i="0">
                <a:solidFill>
                  <a:schemeClr val="accent6"/>
                </a:solidFill>
                <a:latin typeface="Abadi" panose="020B0604020104020204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4" name="Content placeholder 47" descr="Click icon to add picture">
            <a:extLst>
              <a:ext uri="{FF2B5EF4-FFF2-40B4-BE49-F238E27FC236}">
                <a16:creationId xmlns:a16="http://schemas.microsoft.com/office/drawing/2014/main" id="{1AC7F192-CFC3-470A-9467-330212C6F52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09651" y="2826795"/>
            <a:ext cx="1913128" cy="11071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0" i="0">
                <a:solidFill>
                  <a:schemeClr val="accent6"/>
                </a:solidFill>
                <a:latin typeface="Abadi" panose="020B0604020104020204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35" name="Content placeholder 47" descr="Click icon to add picture">
            <a:extLst>
              <a:ext uri="{FF2B5EF4-FFF2-40B4-BE49-F238E27FC236}">
                <a16:creationId xmlns:a16="http://schemas.microsoft.com/office/drawing/2014/main" id="{A5D53FF3-B0CD-4D31-9128-2D2E0E89F0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67234" y="4631270"/>
            <a:ext cx="1913128" cy="10756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0" i="0">
                <a:solidFill>
                  <a:schemeClr val="accent6"/>
                </a:solidFill>
                <a:latin typeface="Abadi" panose="020B0604020104020204" pitchFamily="34" charset="0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0B88ADED-0863-78D3-7710-E131932E965F}"/>
              </a:ext>
            </a:extLst>
          </p:cNvPr>
          <p:cNvSpPr/>
          <p:nvPr userDrawn="1"/>
        </p:nvSpPr>
        <p:spPr>
          <a:xfrm>
            <a:off x="10460480" y="505838"/>
            <a:ext cx="1731521" cy="2159541"/>
          </a:xfrm>
          <a:custGeom>
            <a:avLst/>
            <a:gdLst>
              <a:gd name="connsiteX0" fmla="*/ 953758 w 1731521"/>
              <a:gd name="connsiteY0" fmla="*/ 0 h 2159541"/>
              <a:gd name="connsiteX1" fmla="*/ 1731521 w 1731521"/>
              <a:gd name="connsiteY1" fmla="*/ 438909 h 2159541"/>
              <a:gd name="connsiteX2" fmla="*/ 1731521 w 1731521"/>
              <a:gd name="connsiteY2" fmla="*/ 1724628 h 2159541"/>
              <a:gd name="connsiteX3" fmla="*/ 956364 w 1731521"/>
              <a:gd name="connsiteY3" fmla="*/ 2159541 h 2159541"/>
              <a:gd name="connsiteX4" fmla="*/ 0 w 1731521"/>
              <a:gd name="connsiteY4" fmla="*/ 1623503 h 2159541"/>
              <a:gd name="connsiteX5" fmla="*/ 0 w 1731521"/>
              <a:gd name="connsiteY5" fmla="*/ 543733 h 2159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1521" h="2159541">
                <a:moveTo>
                  <a:pt x="953758" y="0"/>
                </a:moveTo>
                <a:lnTo>
                  <a:pt x="1731521" y="438909"/>
                </a:lnTo>
                <a:lnTo>
                  <a:pt x="1731521" y="1724628"/>
                </a:lnTo>
                <a:lnTo>
                  <a:pt x="956364" y="2159541"/>
                </a:lnTo>
                <a:lnTo>
                  <a:pt x="0" y="1623503"/>
                </a:lnTo>
                <a:lnTo>
                  <a:pt x="0" y="543733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32435EB1-8BEE-9EEE-D9E4-E53D56B7E09C}"/>
              </a:ext>
            </a:extLst>
          </p:cNvPr>
          <p:cNvSpPr/>
          <p:nvPr userDrawn="1"/>
        </p:nvSpPr>
        <p:spPr>
          <a:xfrm>
            <a:off x="11498097" y="2436654"/>
            <a:ext cx="698022" cy="1868948"/>
          </a:xfrm>
          <a:custGeom>
            <a:avLst/>
            <a:gdLst>
              <a:gd name="connsiteX0" fmla="*/ 698022 w 698022"/>
              <a:gd name="connsiteY0" fmla="*/ 0 h 1868948"/>
              <a:gd name="connsiteX1" fmla="*/ 698022 w 698022"/>
              <a:gd name="connsiteY1" fmla="*/ 1868948 h 1868948"/>
              <a:gd name="connsiteX2" fmla="*/ 0 w 698022"/>
              <a:gd name="connsiteY2" fmla="*/ 1477709 h 1868948"/>
              <a:gd name="connsiteX3" fmla="*/ 0 w 698022"/>
              <a:gd name="connsiteY3" fmla="*/ 397939 h 1868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022" h="1868948">
                <a:moveTo>
                  <a:pt x="698022" y="0"/>
                </a:moveTo>
                <a:lnTo>
                  <a:pt x="698022" y="1868948"/>
                </a:lnTo>
                <a:lnTo>
                  <a:pt x="0" y="1477709"/>
                </a:lnTo>
                <a:lnTo>
                  <a:pt x="0" y="397939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2692688E-3654-181E-6244-F2CED7612746}"/>
              </a:ext>
            </a:extLst>
          </p:cNvPr>
          <p:cNvSpPr/>
          <p:nvPr userDrawn="1"/>
        </p:nvSpPr>
        <p:spPr>
          <a:xfrm>
            <a:off x="10460480" y="4114794"/>
            <a:ext cx="1731521" cy="2159541"/>
          </a:xfrm>
          <a:custGeom>
            <a:avLst/>
            <a:gdLst>
              <a:gd name="connsiteX0" fmla="*/ 953758 w 1731521"/>
              <a:gd name="connsiteY0" fmla="*/ 0 h 2159541"/>
              <a:gd name="connsiteX1" fmla="*/ 1731521 w 1731521"/>
              <a:gd name="connsiteY1" fmla="*/ 438909 h 2159541"/>
              <a:gd name="connsiteX2" fmla="*/ 1731521 w 1731521"/>
              <a:gd name="connsiteY2" fmla="*/ 1724629 h 2159541"/>
              <a:gd name="connsiteX3" fmla="*/ 956364 w 1731521"/>
              <a:gd name="connsiteY3" fmla="*/ 2159541 h 2159541"/>
              <a:gd name="connsiteX4" fmla="*/ 0 w 1731521"/>
              <a:gd name="connsiteY4" fmla="*/ 1623503 h 2159541"/>
              <a:gd name="connsiteX5" fmla="*/ 0 w 1731521"/>
              <a:gd name="connsiteY5" fmla="*/ 543733 h 2159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1521" h="2159541">
                <a:moveTo>
                  <a:pt x="953758" y="0"/>
                </a:moveTo>
                <a:lnTo>
                  <a:pt x="1731521" y="438909"/>
                </a:lnTo>
                <a:lnTo>
                  <a:pt x="1731521" y="1724629"/>
                </a:lnTo>
                <a:lnTo>
                  <a:pt x="956364" y="2159541"/>
                </a:lnTo>
                <a:lnTo>
                  <a:pt x="0" y="1623503"/>
                </a:lnTo>
                <a:lnTo>
                  <a:pt x="0" y="543733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3093633-6A91-42B5-961C-4B3A5DDF2146}"/>
              </a:ext>
            </a:extLst>
          </p:cNvPr>
          <p:cNvSpPr/>
          <p:nvPr userDrawn="1"/>
        </p:nvSpPr>
        <p:spPr>
          <a:xfrm>
            <a:off x="6310033" y="4056424"/>
            <a:ext cx="1913128" cy="2159541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  <a:gd name="connsiteX0" fmla="*/ 2187388 w 4387647"/>
              <a:gd name="connsiteY0" fmla="*/ 0 h 5032188"/>
              <a:gd name="connsiteX1" fmla="*/ 4386729 w 4387647"/>
              <a:gd name="connsiteY1" fmla="*/ 1261035 h 5032188"/>
              <a:gd name="connsiteX2" fmla="*/ 4384192 w 4387647"/>
              <a:gd name="connsiteY2" fmla="*/ 3783287 h 5032188"/>
              <a:gd name="connsiteX3" fmla="*/ 2193365 w 4387647"/>
              <a:gd name="connsiteY3" fmla="*/ 5032188 h 5032188"/>
              <a:gd name="connsiteX4" fmla="*/ 0 w 4387647"/>
              <a:gd name="connsiteY4" fmla="*/ 3783106 h 5032188"/>
              <a:gd name="connsiteX5" fmla="*/ 0 w 4387647"/>
              <a:gd name="connsiteY5" fmla="*/ 1267012 h 5032188"/>
              <a:gd name="connsiteX6" fmla="*/ 2187388 w 4387647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7647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80208" y="2940604"/>
                  <a:pt x="4384192" y="3783287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1D63CF61-0674-5E14-6374-920C2F1DA8B4}"/>
              </a:ext>
            </a:extLst>
          </p:cNvPr>
          <p:cNvSpPr/>
          <p:nvPr userDrawn="1"/>
        </p:nvSpPr>
        <p:spPr>
          <a:xfrm>
            <a:off x="7332109" y="5873794"/>
            <a:ext cx="1912728" cy="984207"/>
          </a:xfrm>
          <a:custGeom>
            <a:avLst/>
            <a:gdLst>
              <a:gd name="connsiteX0" fmla="*/ 953758 w 1912728"/>
              <a:gd name="connsiteY0" fmla="*/ 0 h 984207"/>
              <a:gd name="connsiteX1" fmla="*/ 1912728 w 1912728"/>
              <a:gd name="connsiteY1" fmla="*/ 536292 h 984207"/>
              <a:gd name="connsiteX2" fmla="*/ 1912266 w 1912728"/>
              <a:gd name="connsiteY2" fmla="*/ 984207 h 984207"/>
              <a:gd name="connsiteX3" fmla="*/ 0 w 1912728"/>
              <a:gd name="connsiteY3" fmla="*/ 984207 h 984207"/>
              <a:gd name="connsiteX4" fmla="*/ 0 w 1912728"/>
              <a:gd name="connsiteY4" fmla="*/ 538834 h 984207"/>
              <a:gd name="connsiteX5" fmla="*/ 953758 w 1912728"/>
              <a:gd name="connsiteY5" fmla="*/ 0 h 98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2728" h="984207">
                <a:moveTo>
                  <a:pt x="953758" y="0"/>
                </a:moveTo>
                <a:lnTo>
                  <a:pt x="1912728" y="536292"/>
                </a:lnTo>
                <a:lnTo>
                  <a:pt x="1912266" y="984207"/>
                </a:lnTo>
                <a:lnTo>
                  <a:pt x="0" y="984207"/>
                </a:lnTo>
                <a:lnTo>
                  <a:pt x="0" y="538834"/>
                </a:lnTo>
                <a:lnTo>
                  <a:pt x="953758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42E92D25-8432-D014-6C6C-A06CC833A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261862">
            <a:off x="10541774" y="1116249"/>
            <a:ext cx="1684923" cy="1325563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0DFF554-13A7-2B17-D146-0E718A19A789}"/>
              </a:ext>
            </a:extLst>
          </p:cNvPr>
          <p:cNvSpPr/>
          <p:nvPr userDrawn="1"/>
        </p:nvSpPr>
        <p:spPr>
          <a:xfrm>
            <a:off x="7310847" y="12889"/>
            <a:ext cx="1912032" cy="937448"/>
          </a:xfrm>
          <a:custGeom>
            <a:avLst/>
            <a:gdLst>
              <a:gd name="connsiteX0" fmla="*/ 0 w 1912032"/>
              <a:gd name="connsiteY0" fmla="*/ 0 h 937448"/>
              <a:gd name="connsiteX1" fmla="*/ 1912032 w 1912032"/>
              <a:gd name="connsiteY1" fmla="*/ 0 h 937448"/>
              <a:gd name="connsiteX2" fmla="*/ 1911621 w 1912032"/>
              <a:gd name="connsiteY2" fmla="*/ 401488 h 937448"/>
              <a:gd name="connsiteX3" fmla="*/ 956364 w 1912032"/>
              <a:gd name="connsiteY3" fmla="*/ 937448 h 937448"/>
              <a:gd name="connsiteX4" fmla="*/ 0 w 1912032"/>
              <a:gd name="connsiteY4" fmla="*/ 401410 h 937448"/>
              <a:gd name="connsiteX5" fmla="*/ 0 w 1912032"/>
              <a:gd name="connsiteY5" fmla="*/ 0 h 93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2032" h="937448">
                <a:moveTo>
                  <a:pt x="0" y="0"/>
                </a:moveTo>
                <a:lnTo>
                  <a:pt x="1912032" y="0"/>
                </a:lnTo>
                <a:lnTo>
                  <a:pt x="1911621" y="401488"/>
                </a:lnTo>
                <a:lnTo>
                  <a:pt x="956364" y="937448"/>
                </a:lnTo>
                <a:lnTo>
                  <a:pt x="0" y="401410"/>
                </a:lnTo>
                <a:lnTo>
                  <a:pt x="0" y="0"/>
                </a:lnTo>
                <a:close/>
              </a:path>
            </a:pathLst>
          </a:custGeom>
          <a:noFill/>
          <a:ln w="19050">
            <a:gradFill>
              <a:gsLst>
                <a:gs pos="0">
                  <a:srgbClr val="4BBBC4"/>
                </a:gs>
                <a:gs pos="100000">
                  <a:srgbClr val="7363A8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209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8">
          <p15:clr>
            <a:srgbClr val="FBAE40"/>
          </p15:clr>
        </p15:guide>
        <p15:guide id="2" pos="504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1053811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227499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410042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807198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0239979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309606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488733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421341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583730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1816314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0C1D3CF-F6AF-93EB-C40E-C278E5844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74" y="2096892"/>
            <a:ext cx="5117162" cy="1325563"/>
          </a:xfrm>
        </p:spPr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4" name="Content placeholder 47">
            <a:extLst>
              <a:ext uri="{FF2B5EF4-FFF2-40B4-BE49-F238E27FC236}">
                <a16:creationId xmlns:a16="http://schemas.microsoft.com/office/drawing/2014/main" id="{E61594E5-F661-407F-9B5E-62267D2E6A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9574" y="3435546"/>
            <a:ext cx="4260180" cy="12945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6"/>
                </a:solidFill>
                <a:latin typeface="+mn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ext styles 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88BDF24-3B67-5B77-0D48-319FA7FD0F65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5745001" y="0"/>
            <a:ext cx="6446999" cy="6858000"/>
          </a:xfrm>
          <a:custGeom>
            <a:avLst/>
            <a:gdLst>
              <a:gd name="connsiteX0" fmla="*/ 2550369 w 6483642"/>
              <a:gd name="connsiteY0" fmla="*/ 0 h 6858000"/>
              <a:gd name="connsiteX1" fmla="*/ 4338592 w 6483642"/>
              <a:gd name="connsiteY1" fmla="*/ 0 h 6858000"/>
              <a:gd name="connsiteX2" fmla="*/ 6483642 w 6483642"/>
              <a:gd name="connsiteY2" fmla="*/ 1338386 h 6858000"/>
              <a:gd name="connsiteX3" fmla="*/ 6483642 w 6483642"/>
              <a:gd name="connsiteY3" fmla="*/ 5624376 h 6858000"/>
              <a:gd name="connsiteX4" fmla="*/ 4378767 w 6483642"/>
              <a:gd name="connsiteY4" fmla="*/ 6858000 h 6858000"/>
              <a:gd name="connsiteX5" fmla="*/ 2590564 w 6483642"/>
              <a:gd name="connsiteY5" fmla="*/ 6858000 h 6858000"/>
              <a:gd name="connsiteX6" fmla="*/ 133 w 6483642"/>
              <a:gd name="connsiteY6" fmla="*/ 5332429 h 6858000"/>
              <a:gd name="connsiteX7" fmla="*/ 20164 w 6483642"/>
              <a:gd name="connsiteY7" fmla="*/ 1404433 h 6858000"/>
              <a:gd name="connsiteX0" fmla="*/ 2530205 w 6463478"/>
              <a:gd name="connsiteY0" fmla="*/ 0 h 6858000"/>
              <a:gd name="connsiteX1" fmla="*/ 4318428 w 6463478"/>
              <a:gd name="connsiteY1" fmla="*/ 0 h 6858000"/>
              <a:gd name="connsiteX2" fmla="*/ 6463478 w 6463478"/>
              <a:gd name="connsiteY2" fmla="*/ 1338386 h 6858000"/>
              <a:gd name="connsiteX3" fmla="*/ 6463478 w 6463478"/>
              <a:gd name="connsiteY3" fmla="*/ 5624376 h 6858000"/>
              <a:gd name="connsiteX4" fmla="*/ 4358603 w 6463478"/>
              <a:gd name="connsiteY4" fmla="*/ 6858000 h 6858000"/>
              <a:gd name="connsiteX5" fmla="*/ 2570400 w 6463478"/>
              <a:gd name="connsiteY5" fmla="*/ 6858000 h 6858000"/>
              <a:gd name="connsiteX6" fmla="*/ 17140 w 6463478"/>
              <a:gd name="connsiteY6" fmla="*/ 5339864 h 6858000"/>
              <a:gd name="connsiteX7" fmla="*/ 0 w 6463478"/>
              <a:gd name="connsiteY7" fmla="*/ 1404433 h 6858000"/>
              <a:gd name="connsiteX8" fmla="*/ 2530205 w 6463478"/>
              <a:gd name="connsiteY8" fmla="*/ 0 h 6858000"/>
              <a:gd name="connsiteX0" fmla="*/ 2513726 w 6446999"/>
              <a:gd name="connsiteY0" fmla="*/ 0 h 6858000"/>
              <a:gd name="connsiteX1" fmla="*/ 4301949 w 6446999"/>
              <a:gd name="connsiteY1" fmla="*/ 0 h 6858000"/>
              <a:gd name="connsiteX2" fmla="*/ 6446999 w 6446999"/>
              <a:gd name="connsiteY2" fmla="*/ 1338386 h 6858000"/>
              <a:gd name="connsiteX3" fmla="*/ 6446999 w 6446999"/>
              <a:gd name="connsiteY3" fmla="*/ 5624376 h 6858000"/>
              <a:gd name="connsiteX4" fmla="*/ 4342124 w 6446999"/>
              <a:gd name="connsiteY4" fmla="*/ 6858000 h 6858000"/>
              <a:gd name="connsiteX5" fmla="*/ 2553921 w 6446999"/>
              <a:gd name="connsiteY5" fmla="*/ 6858000 h 6858000"/>
              <a:gd name="connsiteX6" fmla="*/ 661 w 6446999"/>
              <a:gd name="connsiteY6" fmla="*/ 5339864 h 6858000"/>
              <a:gd name="connsiteX7" fmla="*/ 299 w 6446999"/>
              <a:gd name="connsiteY7" fmla="*/ 1396044 h 6858000"/>
              <a:gd name="connsiteX8" fmla="*/ 2513726 w 644699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46999" h="6858000">
                <a:moveTo>
                  <a:pt x="2513726" y="0"/>
                </a:moveTo>
                <a:lnTo>
                  <a:pt x="4301949" y="0"/>
                </a:lnTo>
                <a:lnTo>
                  <a:pt x="6446999" y="1338386"/>
                </a:lnTo>
                <a:lnTo>
                  <a:pt x="6446999" y="5624376"/>
                </a:lnTo>
                <a:lnTo>
                  <a:pt x="4342124" y="6858000"/>
                </a:lnTo>
                <a:lnTo>
                  <a:pt x="2553921" y="6858000"/>
                </a:lnTo>
                <a:lnTo>
                  <a:pt x="661" y="5339864"/>
                </a:lnTo>
                <a:cubicBezTo>
                  <a:pt x="-1473" y="4048155"/>
                  <a:pt x="2433" y="2687753"/>
                  <a:pt x="299" y="1396044"/>
                </a:cubicBezTo>
                <a:lnTo>
                  <a:pt x="2513726" y="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dirty="0">
                <a:solidFill>
                  <a:schemeClr val="accent6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altLang="zh-CN"/>
              <a:t>Click icon to add picture</a:t>
            </a:r>
            <a:endParaRPr lang="en-US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4941C1A-E856-9A0E-8DE3-AE9829E1CB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700454">
            <a:off x="4553517" y="712702"/>
            <a:ext cx="1684923" cy="1325563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2133CC64-20D7-7602-46A7-B8D7D4F077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84821" y="311581"/>
            <a:ext cx="1896941" cy="2171612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rgbClr val="DCE9F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7D952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12598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5999610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8885926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439835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</a:t>
            </a:r>
            <a:br>
              <a:rPr lang="en-US" dirty="0"/>
            </a:br>
            <a:r>
              <a:rPr lang="en-US" dirty="0"/>
              <a:t>here or click or tap icon </a:t>
            </a:r>
            <a:br>
              <a:rPr lang="en-US" dirty="0"/>
            </a:br>
            <a:r>
              <a:rPr lang="en-US" dirty="0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114748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17482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73866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2053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35398407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93779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26986120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910EF20F-9BE9-033A-D5CF-C0E81A01EC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8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8638" r="46276"/>
          <a:stretch/>
        </p:blipFill>
        <p:spPr>
          <a:xfrm rot="5400000">
            <a:off x="4690376" y="-2556823"/>
            <a:ext cx="8829823" cy="10520337"/>
          </a:xfrm>
          <a:prstGeom prst="rect">
            <a:avLst/>
          </a:prstGeom>
        </p:spPr>
      </p:pic>
      <p:sp>
        <p:nvSpPr>
          <p:cNvPr id="18" name="Hexagon 17">
            <a:extLst>
              <a:ext uri="{FF2B5EF4-FFF2-40B4-BE49-F238E27FC236}">
                <a16:creationId xmlns:a16="http://schemas.microsoft.com/office/drawing/2014/main" id="{ADF8D8A3-175E-9A50-A98B-3766DAAB5EE2}"/>
              </a:ext>
            </a:extLst>
          </p:cNvPr>
          <p:cNvSpPr/>
          <p:nvPr userDrawn="1"/>
        </p:nvSpPr>
        <p:spPr>
          <a:xfrm rot="5400000">
            <a:off x="1308232" y="2004972"/>
            <a:ext cx="3593592" cy="2880360"/>
          </a:xfrm>
          <a:prstGeom prst="hexagon">
            <a:avLst>
              <a:gd name="adj" fmla="val 31211"/>
              <a:gd name="vf" fmla="val 11547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ext 47" descr="Click icon to add picture">
            <a:extLst>
              <a:ext uri="{FF2B5EF4-FFF2-40B4-BE49-F238E27FC236}">
                <a16:creationId xmlns:a16="http://schemas.microsoft.com/office/drawing/2014/main" id="{B264F104-ED4D-9A7F-E598-295893E05B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19235" y="2911781"/>
            <a:ext cx="1570612" cy="10708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1" cap="all" baseline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A084A88-6A62-9495-6CFE-1127D5CAAAB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581710" y="555648"/>
            <a:ext cx="5045662" cy="5783096"/>
          </a:xfrm>
          <a:custGeom>
            <a:avLst/>
            <a:gdLst>
              <a:gd name="connsiteX0" fmla="*/ 2523318 w 5045662"/>
              <a:gd name="connsiteY0" fmla="*/ 1092708 h 5783096"/>
              <a:gd name="connsiteX1" fmla="*/ 1083139 w 5045662"/>
              <a:gd name="connsiteY1" fmla="*/ 1991697 h 5783096"/>
              <a:gd name="connsiteX2" fmla="*/ 1083139 w 5045662"/>
              <a:gd name="connsiteY2" fmla="*/ 3787311 h 5783096"/>
              <a:gd name="connsiteX3" fmla="*/ 2523318 w 5045662"/>
              <a:gd name="connsiteY3" fmla="*/ 4686300 h 5783096"/>
              <a:gd name="connsiteX4" fmla="*/ 3963497 w 5045662"/>
              <a:gd name="connsiteY4" fmla="*/ 3787311 h 5783096"/>
              <a:gd name="connsiteX5" fmla="*/ 3963497 w 5045662"/>
              <a:gd name="connsiteY5" fmla="*/ 1991697 h 5783096"/>
              <a:gd name="connsiteX6" fmla="*/ 2470122 w 5045662"/>
              <a:gd name="connsiteY6" fmla="*/ 0 h 5783096"/>
              <a:gd name="connsiteX7" fmla="*/ 5037208 w 5045662"/>
              <a:gd name="connsiteY7" fmla="*/ 1458369 h 5783096"/>
              <a:gd name="connsiteX8" fmla="*/ 5045662 w 5045662"/>
              <a:gd name="connsiteY8" fmla="*/ 4339769 h 5783096"/>
              <a:gd name="connsiteX9" fmla="*/ 2561576 w 5045662"/>
              <a:gd name="connsiteY9" fmla="*/ 5783096 h 5783096"/>
              <a:gd name="connsiteX10" fmla="*/ 24164 w 5045662"/>
              <a:gd name="connsiteY10" fmla="*/ 4354881 h 5783096"/>
              <a:gd name="connsiteX11" fmla="*/ 0 w 5045662"/>
              <a:gd name="connsiteY11" fmla="*/ 1453765 h 578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045662" h="5783096">
                <a:moveTo>
                  <a:pt x="2523318" y="1092708"/>
                </a:moveTo>
                <a:lnTo>
                  <a:pt x="1083139" y="1991697"/>
                </a:lnTo>
                <a:lnTo>
                  <a:pt x="1083139" y="3787311"/>
                </a:lnTo>
                <a:lnTo>
                  <a:pt x="2523318" y="4686300"/>
                </a:lnTo>
                <a:lnTo>
                  <a:pt x="3963497" y="3787311"/>
                </a:lnTo>
                <a:lnTo>
                  <a:pt x="3963497" y="1991697"/>
                </a:lnTo>
                <a:close/>
                <a:moveTo>
                  <a:pt x="2470122" y="0"/>
                </a:moveTo>
                <a:lnTo>
                  <a:pt x="5037208" y="1458369"/>
                </a:lnTo>
                <a:cubicBezTo>
                  <a:pt x="5040026" y="2418836"/>
                  <a:pt x="5042844" y="3379302"/>
                  <a:pt x="5045662" y="4339769"/>
                </a:cubicBezTo>
                <a:lnTo>
                  <a:pt x="2561576" y="5783096"/>
                </a:lnTo>
                <a:lnTo>
                  <a:pt x="24164" y="4354881"/>
                </a:lnTo>
                <a:lnTo>
                  <a:pt x="0" y="1453765"/>
                </a:lnTo>
                <a:close/>
              </a:path>
            </a:pathLst>
          </a:custGeom>
          <a:noFill/>
        </p:spPr>
        <p:txBody>
          <a:bodyPr wrap="square" tIns="457200">
            <a:noAutofit/>
          </a:bodyPr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8" name="Title Placeholder 4">
            <a:extLst>
              <a:ext uri="{FF2B5EF4-FFF2-40B4-BE49-F238E27FC236}">
                <a16:creationId xmlns:a16="http://schemas.microsoft.com/office/drawing/2014/main" id="{F73BF8E3-2426-5D65-6582-D4B03C765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0510" y="2041071"/>
            <a:ext cx="4441188" cy="27758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7113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90291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4598781-713D-A153-D7DE-A0B8C9FEA4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0E4987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899680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3869006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1ED2F1E-B11D-7B75-2BE7-2C2CAA4F0E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0E4987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56955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rgbClr val="E1D3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83642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35964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9586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1592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7781933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30C24-163F-15BF-3D01-A8CA8BF26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93736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F9158F9-840A-056E-53C7-B6FB442AB3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2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549" t="1" b="-2876"/>
          <a:stretch/>
        </p:blipFill>
        <p:spPr>
          <a:xfrm rot="18047890">
            <a:off x="-1167292" y="-928723"/>
            <a:ext cx="10349527" cy="8684527"/>
          </a:xfrm>
          <a:prstGeom prst="rect">
            <a:avLst/>
          </a:prstGeom>
        </p:spPr>
      </p:pic>
      <p:sp>
        <p:nvSpPr>
          <p:cNvPr id="8" name="Title Placeholder 4">
            <a:extLst>
              <a:ext uri="{FF2B5EF4-FFF2-40B4-BE49-F238E27FC236}">
                <a16:creationId xmlns:a16="http://schemas.microsoft.com/office/drawing/2014/main" id="{F73BF8E3-2426-5D65-6582-D4B03C765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7122" y="1477108"/>
            <a:ext cx="4441188" cy="157089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DF8D8A3-175E-9A50-A98B-3766DAAB5EE2}"/>
              </a:ext>
            </a:extLst>
          </p:cNvPr>
          <p:cNvSpPr/>
          <p:nvPr userDrawn="1"/>
        </p:nvSpPr>
        <p:spPr>
          <a:xfrm rot="5400000">
            <a:off x="1110730" y="2041026"/>
            <a:ext cx="2502359" cy="2502849"/>
          </a:xfrm>
          <a:prstGeom prst="ellipse">
            <a:avLst/>
          </a:prstGeom>
          <a:solidFill>
            <a:schemeClr val="bg1"/>
          </a:solidFill>
          <a:ln w="63500">
            <a:solidFill>
              <a:srgbClr val="4BBBC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ext 47" descr="Click icon to add picture">
            <a:extLst>
              <a:ext uri="{FF2B5EF4-FFF2-40B4-BE49-F238E27FC236}">
                <a16:creationId xmlns:a16="http://schemas.microsoft.com/office/drawing/2014/main" id="{B264F104-ED4D-9A7F-E598-295893E05B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99771" y="2669999"/>
            <a:ext cx="1570612" cy="10708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13000"/>
              </a:lnSpc>
              <a:buNone/>
              <a:defRPr sz="1800" b="1" cap="all" baseline="0">
                <a:solidFill>
                  <a:schemeClr val="accent6"/>
                </a:solidFill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altLang="zh-CN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1705623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42BC57-1D8D-9F59-24F9-1E8232279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828" y="984750"/>
            <a:ext cx="10889795" cy="1115434"/>
          </a:xfrm>
          <a:solidFill>
            <a:srgbClr val="F8F6F5">
              <a:alpha val="88000"/>
            </a:srgbClr>
          </a:solidFill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9D08A84-9C8E-66C7-6D83-47526899D8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55092" y="-459177"/>
            <a:ext cx="1942221" cy="1527985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ACBAF09-3E46-547F-D301-81E04522E7B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7375" y="2159392"/>
            <a:ext cx="10890250" cy="436047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6827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9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48.xml"/><Relationship Id="rId34" Type="http://schemas.openxmlformats.org/officeDocument/2006/relationships/slideLayout" Target="../slideLayouts/slideLayout61.xml"/><Relationship Id="rId42" Type="http://schemas.openxmlformats.org/officeDocument/2006/relationships/slideLayout" Target="../slideLayouts/slideLayout69.xml"/><Relationship Id="rId47" Type="http://schemas.openxmlformats.org/officeDocument/2006/relationships/slideLayout" Target="../slideLayouts/slideLayout74.xml"/><Relationship Id="rId50" Type="http://schemas.openxmlformats.org/officeDocument/2006/relationships/slideLayout" Target="../slideLayouts/slideLayout77.xml"/><Relationship Id="rId55" Type="http://schemas.openxmlformats.org/officeDocument/2006/relationships/image" Target="../media/image6.svg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59.xml"/><Relationship Id="rId37" Type="http://schemas.openxmlformats.org/officeDocument/2006/relationships/slideLayout" Target="../slideLayouts/slideLayout64.xml"/><Relationship Id="rId40" Type="http://schemas.openxmlformats.org/officeDocument/2006/relationships/slideLayout" Target="../slideLayouts/slideLayout67.xml"/><Relationship Id="rId45" Type="http://schemas.openxmlformats.org/officeDocument/2006/relationships/slideLayout" Target="../slideLayouts/slideLayout72.xml"/><Relationship Id="rId53" Type="http://schemas.openxmlformats.org/officeDocument/2006/relationships/theme" Target="../theme/theme3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slideLayout" Target="../slideLayouts/slideLayout58.xml"/><Relationship Id="rId44" Type="http://schemas.openxmlformats.org/officeDocument/2006/relationships/slideLayout" Target="../slideLayouts/slideLayout71.xml"/><Relationship Id="rId52" Type="http://schemas.openxmlformats.org/officeDocument/2006/relationships/slideLayout" Target="../slideLayouts/slideLayout79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35" Type="http://schemas.openxmlformats.org/officeDocument/2006/relationships/slideLayout" Target="../slideLayouts/slideLayout62.xml"/><Relationship Id="rId43" Type="http://schemas.openxmlformats.org/officeDocument/2006/relationships/slideLayout" Target="../slideLayouts/slideLayout70.xml"/><Relationship Id="rId48" Type="http://schemas.openxmlformats.org/officeDocument/2006/relationships/slideLayout" Target="../slideLayouts/slideLayout75.xml"/><Relationship Id="rId8" Type="http://schemas.openxmlformats.org/officeDocument/2006/relationships/slideLayout" Target="../slideLayouts/slideLayout35.xml"/><Relationship Id="rId51" Type="http://schemas.openxmlformats.org/officeDocument/2006/relationships/slideLayout" Target="../slideLayouts/slideLayout78.xml"/><Relationship Id="rId3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slideLayout" Target="../slideLayouts/slideLayout60.xml"/><Relationship Id="rId38" Type="http://schemas.openxmlformats.org/officeDocument/2006/relationships/slideLayout" Target="../slideLayouts/slideLayout65.xml"/><Relationship Id="rId4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47.xml"/><Relationship Id="rId41" Type="http://schemas.openxmlformats.org/officeDocument/2006/relationships/slideLayout" Target="../slideLayouts/slideLayout68.xml"/><Relationship Id="rId54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36" Type="http://schemas.openxmlformats.org/officeDocument/2006/relationships/slideLayout" Target="../slideLayouts/slideLayout63.xml"/><Relationship Id="rId49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8CB8A3D-9A54-FD7C-F6A5-B33E6C891A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326943"/>
            <a:ext cx="10515600" cy="38500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F38A7675-78A2-B642-22AF-B98514C68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933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  <p:pic>
        <p:nvPicPr>
          <p:cNvPr id="2" name="Picture 1" descr="A picture containing icon&#10;&#10;Description automatically generated">
            <a:extLst>
              <a:ext uri="{FF2B5EF4-FFF2-40B4-BE49-F238E27FC236}">
                <a16:creationId xmlns:a16="http://schemas.microsoft.com/office/drawing/2014/main" id="{C7459CBD-F749-72E9-C457-BB62F506508D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65240" y="156289"/>
            <a:ext cx="2141009" cy="58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574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3" r:id="rId2"/>
    <p:sldLayoutId id="2147483672" r:id="rId3"/>
    <p:sldLayoutId id="2147483669" r:id="rId4"/>
    <p:sldLayoutId id="2147483652" r:id="rId5"/>
    <p:sldLayoutId id="2147483651" r:id="rId6"/>
    <p:sldLayoutId id="2147483653" r:id="rId7"/>
    <p:sldLayoutId id="2147483671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668" r:id="rId15"/>
    <p:sldLayoutId id="2147483661" r:id="rId16"/>
    <p:sldLayoutId id="2147483662" r:id="rId17"/>
    <p:sldLayoutId id="2147483663" r:id="rId18"/>
    <p:sldLayoutId id="2147483664" r:id="rId19"/>
    <p:sldLayoutId id="2147483675" r:id="rId20"/>
    <p:sldLayoutId id="2147483676" r:id="rId21"/>
    <p:sldLayoutId id="2147483665" r:id="rId2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5640" userDrawn="1">
          <p15:clr>
            <a:srgbClr val="F26B43"/>
          </p15:clr>
        </p15:guide>
        <p15:guide id="4" pos="1656" userDrawn="1">
          <p15:clr>
            <a:srgbClr val="F26B43"/>
          </p15:clr>
        </p15:guide>
        <p15:guide id="5" pos="520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206" y="0"/>
                </a:moveTo>
                <a:lnTo>
                  <a:pt x="0" y="0"/>
                </a:lnTo>
                <a:lnTo>
                  <a:pt x="0" y="6858000"/>
                </a:lnTo>
                <a:lnTo>
                  <a:pt x="12193206" y="6858000"/>
                </a:lnTo>
                <a:lnTo>
                  <a:pt x="12193206" y="0"/>
                </a:lnTo>
                <a:close/>
              </a:path>
            </a:pathLst>
          </a:custGeom>
          <a:solidFill>
            <a:srgbClr val="121C2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331774" y="2449151"/>
            <a:ext cx="7534800" cy="13665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500" b="1" i="0">
                <a:solidFill>
                  <a:schemeClr val="bg1"/>
                </a:solidFill>
                <a:latin typeface="Oswald SemiBold"/>
                <a:cs typeface="Oswald 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917" y="1577340"/>
            <a:ext cx="10978515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0403032" y="5891297"/>
            <a:ext cx="1263015" cy="4775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chemeClr val="bg1"/>
                </a:solidFill>
                <a:latin typeface="Oswald Medium"/>
                <a:cs typeface="Oswald Medium"/>
              </a:defRPr>
            </a:lvl1pPr>
          </a:lstStyle>
          <a:p>
            <a:pPr marL="12700">
              <a:lnSpc>
                <a:spcPct val="100000"/>
              </a:lnSpc>
              <a:spcBef>
                <a:spcPts val="560"/>
              </a:spcBef>
            </a:pPr>
            <a:r>
              <a:rPr spc="-10" dirty="0"/>
              <a:t>#SCS2025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27300" y="5774298"/>
            <a:ext cx="3644265" cy="5619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500" b="0" i="0">
                <a:solidFill>
                  <a:srgbClr val="4EBDC5"/>
                </a:solidFill>
                <a:latin typeface="Oswald Medium"/>
                <a:cs typeface="Oswald Medium"/>
              </a:defRPr>
            </a:lvl1pPr>
          </a:lstStyle>
          <a:p>
            <a:pPr marL="12700">
              <a:lnSpc>
                <a:spcPct val="100000"/>
              </a:lnSpc>
              <a:spcBef>
                <a:spcPts val="390"/>
              </a:spcBef>
            </a:pPr>
            <a:r>
              <a:rPr dirty="0"/>
              <a:t>SOUTH</a:t>
            </a:r>
            <a:r>
              <a:rPr spc="-50" dirty="0"/>
              <a:t> </a:t>
            </a:r>
            <a:r>
              <a:rPr dirty="0"/>
              <a:t>COAST</a:t>
            </a:r>
            <a:r>
              <a:rPr spc="-50" dirty="0"/>
              <a:t> </a:t>
            </a:r>
            <a:r>
              <a:rPr spc="-10" dirty="0"/>
              <a:t>SUMMIT</a:t>
            </a:r>
          </a:p>
          <a:p>
            <a:pPr marL="12700">
              <a:lnSpc>
                <a:spcPct val="100000"/>
              </a:lnSpc>
              <a:spcBef>
                <a:spcPts val="200"/>
              </a:spcBef>
            </a:pPr>
            <a:r>
              <a:rPr dirty="0">
                <a:solidFill>
                  <a:srgbClr val="FFFFFF"/>
                </a:solidFill>
              </a:rPr>
              <a:t>A</a:t>
            </a:r>
            <a:r>
              <a:rPr spc="-40" dirty="0">
                <a:solidFill>
                  <a:srgbClr val="FFFFFF"/>
                </a:solidFill>
              </a:rPr>
              <a:t> </a:t>
            </a:r>
            <a:r>
              <a:rPr dirty="0">
                <a:solidFill>
                  <a:srgbClr val="FFFFFF"/>
                </a:solidFill>
              </a:rPr>
              <a:t>CLOUD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TECHNOLOGY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dirty="0">
                <a:solidFill>
                  <a:srgbClr val="FFFFFF"/>
                </a:solidFill>
              </a:rPr>
              <a:t>COMMUNITY</a:t>
            </a:r>
            <a:r>
              <a:rPr spc="-35" dirty="0">
                <a:solidFill>
                  <a:srgbClr val="FFFFFF"/>
                </a:solidFill>
              </a:rPr>
              <a:t> </a:t>
            </a:r>
            <a:r>
              <a:rPr spc="-10" dirty="0">
                <a:solidFill>
                  <a:srgbClr val="FFFFFF"/>
                </a:solidFill>
              </a:rPr>
              <a:t>CONFERENCE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82812" y="6377940"/>
            <a:ext cx="28056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9580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rgbClr val="FFF8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782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  <p:sldLayoutId id="2147483715" r:id="rId31"/>
    <p:sldLayoutId id="2147483716" r:id="rId32"/>
    <p:sldLayoutId id="2147483717" r:id="rId33"/>
    <p:sldLayoutId id="2147483718" r:id="rId34"/>
    <p:sldLayoutId id="2147483719" r:id="rId35"/>
    <p:sldLayoutId id="2147483720" r:id="rId36"/>
    <p:sldLayoutId id="2147483721" r:id="rId37"/>
    <p:sldLayoutId id="2147483722" r:id="rId38"/>
    <p:sldLayoutId id="2147483723" r:id="rId39"/>
    <p:sldLayoutId id="2147483724" r:id="rId40"/>
    <p:sldLayoutId id="2147483725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  <p:sldLayoutId id="2147483733" r:id="rId49"/>
    <p:sldLayoutId id="2147483734" r:id="rId50"/>
    <p:sldLayoutId id="2147483735" r:id="rId51"/>
    <p:sldLayoutId id="2147483736" r:id="rId52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10" Type="http://schemas.openxmlformats.org/officeDocument/2006/relationships/image" Target="../media/image71.svg"/><Relationship Id="rId4" Type="http://schemas.openxmlformats.org/officeDocument/2006/relationships/image" Target="../media/image65.svg"/><Relationship Id="rId9" Type="http://schemas.openxmlformats.org/officeDocument/2006/relationships/image" Target="../media/image7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2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65.svg"/><Relationship Id="rId5" Type="http://schemas.openxmlformats.org/officeDocument/2006/relationships/image" Target="../media/image64.png"/><Relationship Id="rId10" Type="http://schemas.openxmlformats.org/officeDocument/2006/relationships/image" Target="../media/image77.png"/><Relationship Id="rId4" Type="http://schemas.openxmlformats.org/officeDocument/2006/relationships/image" Target="../media/image73.png"/><Relationship Id="rId9" Type="http://schemas.openxmlformats.org/officeDocument/2006/relationships/image" Target="../media/image76.sv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8.png"/><Relationship Id="rId18" Type="http://schemas.openxmlformats.org/officeDocument/2006/relationships/image" Target="../media/image93.png"/><Relationship Id="rId26" Type="http://schemas.openxmlformats.org/officeDocument/2006/relationships/image" Target="../media/image101.png"/><Relationship Id="rId39" Type="http://schemas.openxmlformats.org/officeDocument/2006/relationships/image" Target="../media/image114.png"/><Relationship Id="rId21" Type="http://schemas.openxmlformats.org/officeDocument/2006/relationships/image" Target="../media/image96.png"/><Relationship Id="rId34" Type="http://schemas.openxmlformats.org/officeDocument/2006/relationships/image" Target="../media/image109.svg"/><Relationship Id="rId42" Type="http://schemas.openxmlformats.org/officeDocument/2006/relationships/image" Target="../media/image117.png"/><Relationship Id="rId47" Type="http://schemas.openxmlformats.org/officeDocument/2006/relationships/image" Target="../media/image122.svg"/><Relationship Id="rId50" Type="http://schemas.openxmlformats.org/officeDocument/2006/relationships/image" Target="../media/image125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91.svg"/><Relationship Id="rId29" Type="http://schemas.openxmlformats.org/officeDocument/2006/relationships/image" Target="../media/image104.png"/><Relationship Id="rId11" Type="http://schemas.openxmlformats.org/officeDocument/2006/relationships/image" Target="../media/image86.svg"/><Relationship Id="rId24" Type="http://schemas.openxmlformats.org/officeDocument/2006/relationships/image" Target="../media/image99.png"/><Relationship Id="rId32" Type="http://schemas.openxmlformats.org/officeDocument/2006/relationships/image" Target="../media/image107.png"/><Relationship Id="rId37" Type="http://schemas.openxmlformats.org/officeDocument/2006/relationships/image" Target="../media/image112.png"/><Relationship Id="rId40" Type="http://schemas.openxmlformats.org/officeDocument/2006/relationships/image" Target="../media/image115.svg"/><Relationship Id="rId45" Type="http://schemas.openxmlformats.org/officeDocument/2006/relationships/image" Target="../media/image120.png"/><Relationship Id="rId53" Type="http://schemas.openxmlformats.org/officeDocument/2006/relationships/image" Target="../media/image128.png"/><Relationship Id="rId5" Type="http://schemas.openxmlformats.org/officeDocument/2006/relationships/image" Target="../media/image80.png"/><Relationship Id="rId10" Type="http://schemas.openxmlformats.org/officeDocument/2006/relationships/image" Target="../media/image85.png"/><Relationship Id="rId19" Type="http://schemas.openxmlformats.org/officeDocument/2006/relationships/image" Target="../media/image94.svg"/><Relationship Id="rId31" Type="http://schemas.openxmlformats.org/officeDocument/2006/relationships/image" Target="../media/image106.png"/><Relationship Id="rId44" Type="http://schemas.openxmlformats.org/officeDocument/2006/relationships/image" Target="../media/image119.png"/><Relationship Id="rId52" Type="http://schemas.openxmlformats.org/officeDocument/2006/relationships/image" Target="../media/image127.svg"/><Relationship Id="rId4" Type="http://schemas.openxmlformats.org/officeDocument/2006/relationships/image" Target="../media/image79.svg"/><Relationship Id="rId9" Type="http://schemas.openxmlformats.org/officeDocument/2006/relationships/image" Target="../media/image84.png"/><Relationship Id="rId14" Type="http://schemas.openxmlformats.org/officeDocument/2006/relationships/image" Target="../media/image89.png"/><Relationship Id="rId22" Type="http://schemas.openxmlformats.org/officeDocument/2006/relationships/image" Target="../media/image97.png"/><Relationship Id="rId27" Type="http://schemas.openxmlformats.org/officeDocument/2006/relationships/image" Target="../media/image102.png"/><Relationship Id="rId30" Type="http://schemas.openxmlformats.org/officeDocument/2006/relationships/image" Target="../media/image105.png"/><Relationship Id="rId35" Type="http://schemas.openxmlformats.org/officeDocument/2006/relationships/image" Target="../media/image110.png"/><Relationship Id="rId43" Type="http://schemas.openxmlformats.org/officeDocument/2006/relationships/image" Target="../media/image118.png"/><Relationship Id="rId48" Type="http://schemas.openxmlformats.org/officeDocument/2006/relationships/image" Target="../media/image123.png"/><Relationship Id="rId8" Type="http://schemas.openxmlformats.org/officeDocument/2006/relationships/image" Target="../media/image83.svg"/><Relationship Id="rId51" Type="http://schemas.openxmlformats.org/officeDocument/2006/relationships/image" Target="../media/image126.png"/><Relationship Id="rId3" Type="http://schemas.openxmlformats.org/officeDocument/2006/relationships/image" Target="../media/image78.png"/><Relationship Id="rId12" Type="http://schemas.openxmlformats.org/officeDocument/2006/relationships/image" Target="../media/image87.png"/><Relationship Id="rId17" Type="http://schemas.openxmlformats.org/officeDocument/2006/relationships/image" Target="../media/image92.png"/><Relationship Id="rId25" Type="http://schemas.openxmlformats.org/officeDocument/2006/relationships/image" Target="../media/image100.png"/><Relationship Id="rId33" Type="http://schemas.openxmlformats.org/officeDocument/2006/relationships/image" Target="../media/image108.png"/><Relationship Id="rId38" Type="http://schemas.openxmlformats.org/officeDocument/2006/relationships/image" Target="../media/image113.svg"/><Relationship Id="rId46" Type="http://schemas.openxmlformats.org/officeDocument/2006/relationships/image" Target="../media/image121.png"/><Relationship Id="rId20" Type="http://schemas.openxmlformats.org/officeDocument/2006/relationships/image" Target="../media/image95.png"/><Relationship Id="rId41" Type="http://schemas.openxmlformats.org/officeDocument/2006/relationships/image" Target="../media/image116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81.png"/><Relationship Id="rId15" Type="http://schemas.openxmlformats.org/officeDocument/2006/relationships/image" Target="../media/image90.png"/><Relationship Id="rId23" Type="http://schemas.openxmlformats.org/officeDocument/2006/relationships/image" Target="../media/image98.png"/><Relationship Id="rId28" Type="http://schemas.openxmlformats.org/officeDocument/2006/relationships/image" Target="../media/image103.png"/><Relationship Id="rId36" Type="http://schemas.openxmlformats.org/officeDocument/2006/relationships/image" Target="../media/image111.svg"/><Relationship Id="rId49" Type="http://schemas.openxmlformats.org/officeDocument/2006/relationships/image" Target="../media/image124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.xml"/><Relationship Id="rId6" Type="http://schemas.openxmlformats.org/officeDocument/2006/relationships/image" Target="../media/image129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.xml"/><Relationship Id="rId6" Type="http://schemas.openxmlformats.org/officeDocument/2006/relationships/image" Target="../media/image130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3.xml"/><Relationship Id="rId6" Type="http://schemas.openxmlformats.org/officeDocument/2006/relationships/image" Target="../media/image131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.xml"/><Relationship Id="rId6" Type="http://schemas.openxmlformats.org/officeDocument/2006/relationships/image" Target="../media/image132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36.png"/><Relationship Id="rId5" Type="http://schemas.openxmlformats.org/officeDocument/2006/relationships/image" Target="../media/image135.png"/><Relationship Id="rId4" Type="http://schemas.openxmlformats.org/officeDocument/2006/relationships/image" Target="../media/image13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5.xml"/><Relationship Id="rId6" Type="http://schemas.openxmlformats.org/officeDocument/2006/relationships/image" Target="../media/image137.pn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6.xml"/><Relationship Id="rId6" Type="http://schemas.openxmlformats.org/officeDocument/2006/relationships/image" Target="../media/image138.jpe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7.xml"/><Relationship Id="rId6" Type="http://schemas.openxmlformats.org/officeDocument/2006/relationships/image" Target="../media/image139.jpeg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aka.ms/scs25-copilot-studio" TargetMode="Externa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44.jpeg"/><Relationship Id="rId5" Type="http://schemas.openxmlformats.org/officeDocument/2006/relationships/image" Target="../media/image143.jpeg"/><Relationship Id="rId4" Type="http://schemas.openxmlformats.org/officeDocument/2006/relationships/image" Target="../media/image14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54.png"/><Relationship Id="rId3" Type="http://schemas.openxmlformats.org/officeDocument/2006/relationships/image" Target="../media/image39.png"/><Relationship Id="rId21" Type="http://schemas.openxmlformats.org/officeDocument/2006/relationships/image" Target="../media/image57.pn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53.png"/><Relationship Id="rId2" Type="http://schemas.openxmlformats.org/officeDocument/2006/relationships/image" Target="../media/image38.png"/><Relationship Id="rId16" Type="http://schemas.openxmlformats.org/officeDocument/2006/relationships/image" Target="../media/image52.png"/><Relationship Id="rId20" Type="http://schemas.openxmlformats.org/officeDocument/2006/relationships/image" Target="../media/image56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24" Type="http://schemas.openxmlformats.org/officeDocument/2006/relationships/image" Target="../media/image60.jpeg"/><Relationship Id="rId5" Type="http://schemas.openxmlformats.org/officeDocument/2006/relationships/image" Target="../media/image41.png"/><Relationship Id="rId15" Type="http://schemas.openxmlformats.org/officeDocument/2006/relationships/image" Target="../media/image51.png"/><Relationship Id="rId23" Type="http://schemas.openxmlformats.org/officeDocument/2006/relationships/image" Target="../media/image59.png"/><Relationship Id="rId10" Type="http://schemas.openxmlformats.org/officeDocument/2006/relationships/image" Target="../media/image46.png"/><Relationship Id="rId19" Type="http://schemas.openxmlformats.org/officeDocument/2006/relationships/image" Target="../media/image55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Relationship Id="rId14" Type="http://schemas.openxmlformats.org/officeDocument/2006/relationships/image" Target="../media/image50.png"/><Relationship Id="rId22" Type="http://schemas.openxmlformats.org/officeDocument/2006/relationships/image" Target="../media/image5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60195">
              <a:lnSpc>
                <a:spcPct val="100000"/>
              </a:lnSpc>
              <a:spcBef>
                <a:spcPts val="100"/>
              </a:spcBef>
            </a:pPr>
            <a:r>
              <a:rPr sz="8800" b="0" spc="235" dirty="0">
                <a:latin typeface="Oswald Medium"/>
                <a:cs typeface="Oswald Medium"/>
              </a:rPr>
              <a:t>WELCOME</a:t>
            </a:r>
            <a:endParaRPr sz="8800">
              <a:latin typeface="Oswald Medium"/>
              <a:cs typeface="Oswald Medium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911322" y="0"/>
            <a:ext cx="3281870" cy="3806391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dt" sz="half" idx="6"/>
          </p:nvPr>
        </p:nvSpPr>
        <p:spPr>
          <a:prstGeom prst="rect">
            <a:avLst/>
          </a:prstGeom>
        </p:spPr>
        <p:txBody>
          <a:bodyPr vert="horz" wrap="square" lIns="0" tIns="4953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3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4EBDC5"/>
                </a:solidFill>
                <a:effectLst/>
                <a:uLnTx/>
                <a:uFillTx/>
                <a:latin typeface="Oswald Medium"/>
              </a:rPr>
              <a:t>SOUTH</a:t>
            </a:r>
            <a:r>
              <a:rPr kumimoji="0" sz="1500" b="0" i="0" u="none" strike="noStrike" kern="0" cap="none" spc="-50" normalizeH="0" baseline="0" noProof="0" dirty="0">
                <a:ln>
                  <a:noFill/>
                </a:ln>
                <a:solidFill>
                  <a:srgbClr val="4EBDC5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4EBDC5"/>
                </a:solidFill>
                <a:effectLst/>
                <a:uLnTx/>
                <a:uFillTx/>
                <a:latin typeface="Oswald Medium"/>
              </a:rPr>
              <a:t>COAST</a:t>
            </a:r>
            <a:r>
              <a:rPr kumimoji="0" sz="1500" b="0" i="0" u="none" strike="noStrike" kern="0" cap="none" spc="-50" normalizeH="0" baseline="0" noProof="0" dirty="0">
                <a:ln>
                  <a:noFill/>
                </a:ln>
                <a:solidFill>
                  <a:srgbClr val="4EBDC5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-10" normalizeH="0" baseline="0" noProof="0" dirty="0">
                <a:ln>
                  <a:noFill/>
                </a:ln>
                <a:solidFill>
                  <a:srgbClr val="4EBDC5"/>
                </a:solidFill>
                <a:effectLst/>
                <a:uLnTx/>
                <a:uFillTx/>
                <a:latin typeface="Oswald Medium"/>
              </a:rPr>
              <a:t>SUMMIT</a:t>
            </a: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A</a:t>
            </a:r>
            <a:r>
              <a:rPr kumimoji="0" sz="1500" b="0" i="0" u="none" strike="noStrike" kern="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CLOUD</a:t>
            </a:r>
            <a:r>
              <a:rPr kumimoji="0" sz="1500" b="0" i="0" u="none" strike="noStrike" kern="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TECHNOLOGY</a:t>
            </a:r>
            <a:r>
              <a:rPr kumimoji="0" sz="1500" b="0" i="0" u="none" strike="noStrike" kern="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COMMUNITY</a:t>
            </a:r>
            <a:r>
              <a:rPr kumimoji="0" sz="1500" b="0" i="0" u="none" strike="noStrike" kern="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CONFERENCE</a:t>
            </a:r>
          </a:p>
        </p:txBody>
      </p:sp>
      <p:sp>
        <p:nvSpPr>
          <p:cNvPr id="5" name="object 5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swald Medium"/>
              </a:rPr>
              <a:t>#SCS2025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D61361-C264-5CA0-CD06-8E1F2EE6C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phic 44">
            <a:extLst>
              <a:ext uri="{FF2B5EF4-FFF2-40B4-BE49-F238E27FC236}">
                <a16:creationId xmlns:a16="http://schemas.microsoft.com/office/drawing/2014/main" id="{EA961171-CBB9-983A-5B2E-46C233D0E1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67200" y="376198"/>
            <a:ext cx="635000" cy="635000"/>
          </a:xfrm>
          <a:prstGeom prst="rect">
            <a:avLst/>
          </a:prstGeom>
          <a:effectLst/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20EF81D4-358A-5C30-D86A-538F93965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pPr algn="ctr"/>
            <a:r>
              <a:rPr lang="en-US" dirty="0"/>
              <a:t>	Copilot Studi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EDD82E-8D9A-C706-334C-9FE7527466F4}"/>
              </a:ext>
            </a:extLst>
          </p:cNvPr>
          <p:cNvSpPr txBox="1"/>
          <p:nvPr/>
        </p:nvSpPr>
        <p:spPr>
          <a:xfrm>
            <a:off x="603966" y="1150344"/>
            <a:ext cx="11224374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pilot Studio is your tool for </a:t>
            </a:r>
            <a:r>
              <a:rPr kumimoji="0" lang="en-US" sz="20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building agents</a:t>
            </a:r>
            <a:r>
              <a:rPr kumimoji="0" lang="en-US" sz="2000" b="0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d </a:t>
            </a:r>
            <a:r>
              <a:rPr kumimoji="0" lang="en-US" sz="20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extending Microsoft 365 Copilot</a:t>
            </a:r>
            <a:r>
              <a:rPr kumimoji="0" lang="en-US" sz="2000" b="0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gradFill>
                <a:gsLst>
                  <a:gs pos="80000">
                    <a:srgbClr val="0A6BBA"/>
                  </a:gs>
                  <a:gs pos="0">
                    <a:srgbClr val="7656AD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15408E0-7A66-2A6C-DF77-A23BE89EAC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647896"/>
            <a:ext cx="12192000" cy="1095304"/>
          </a:xfrm>
          <a:prstGeom prst="rect">
            <a:avLst/>
          </a:prstGeom>
          <a:gradFill flip="none" rotWithShape="1"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  <a:tileRect r="-100000" b="-100000"/>
          </a:gradFill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itchFamily="34" charset="0"/>
            </a:endParaRPr>
          </a:p>
        </p:txBody>
      </p:sp>
      <p:pic>
        <p:nvPicPr>
          <p:cNvPr id="71" name="Graphic 70">
            <a:extLst>
              <a:ext uri="{FF2B5EF4-FFF2-40B4-BE49-F238E27FC236}">
                <a16:creationId xmlns:a16="http://schemas.microsoft.com/office/drawing/2014/main" id="{DC675F7C-B5EA-12B3-1CDF-FAA28F201F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1630" y="1771804"/>
            <a:ext cx="187386" cy="187386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EEDB270A-8680-1A23-0D2F-E18FED1C066E}"/>
              </a:ext>
            </a:extLst>
          </p:cNvPr>
          <p:cNvSpPr/>
          <p:nvPr/>
        </p:nvSpPr>
        <p:spPr bwMode="auto">
          <a:xfrm>
            <a:off x="948106" y="1717435"/>
            <a:ext cx="1767325" cy="481243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et your users where they already are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B8144752-D30B-904F-22A4-B54BE42E6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92541" y="1771804"/>
            <a:ext cx="187386" cy="187386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36F8C3BE-F863-EC9C-5B7A-256893340813}"/>
              </a:ext>
            </a:extLst>
          </p:cNvPr>
          <p:cNvSpPr/>
          <p:nvPr/>
        </p:nvSpPr>
        <p:spPr bwMode="auto">
          <a:xfrm>
            <a:off x="3491235" y="1717435"/>
            <a:ext cx="1321455" cy="481243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ccess everything in one place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53597939-279D-4D3E-36F2-6CA3550E5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62925" y="1771804"/>
            <a:ext cx="187386" cy="187386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44061E93-8A0F-C7BD-E4F3-7CC6A625BA96}"/>
              </a:ext>
            </a:extLst>
          </p:cNvPr>
          <p:cNvSpPr/>
          <p:nvPr/>
        </p:nvSpPr>
        <p:spPr bwMode="auto">
          <a:xfrm>
            <a:off x="5857556" y="1714571"/>
            <a:ext cx="1158061" cy="481244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utomate your workflows</a:t>
            </a: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416161CD-B48A-6A04-2912-CE8556EE98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78466" y="1767806"/>
            <a:ext cx="187386" cy="187386"/>
          </a:xfrm>
          <a:prstGeom prst="rect">
            <a:avLst/>
          </a:prstGeom>
        </p:spPr>
      </p:pic>
      <p:sp>
        <p:nvSpPr>
          <p:cNvPr id="66" name="Rectangle 65">
            <a:extLst>
              <a:ext uri="{FF2B5EF4-FFF2-40B4-BE49-F238E27FC236}">
                <a16:creationId xmlns:a16="http://schemas.microsoft.com/office/drawing/2014/main" id="{497C640F-73F2-579E-446D-C7D3553838E6}"/>
              </a:ext>
            </a:extLst>
          </p:cNvPr>
          <p:cNvSpPr/>
          <p:nvPr/>
        </p:nvSpPr>
        <p:spPr bwMode="auto">
          <a:xfrm>
            <a:off x="7873354" y="1714571"/>
            <a:ext cx="1265307" cy="481243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grate with your external apps</a:t>
            </a:r>
          </a:p>
        </p:txBody>
      </p:sp>
      <p:pic>
        <p:nvPicPr>
          <p:cNvPr id="63" name="Graphic 62">
            <a:extLst>
              <a:ext uri="{FF2B5EF4-FFF2-40B4-BE49-F238E27FC236}">
                <a16:creationId xmlns:a16="http://schemas.microsoft.com/office/drawing/2014/main" id="{C8E1AF05-9949-AE3E-A9C3-26E2433E4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8896" y="1767806"/>
            <a:ext cx="187386" cy="187386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BE199E16-137B-8770-7407-56D962B69B50}"/>
              </a:ext>
            </a:extLst>
          </p:cNvPr>
          <p:cNvSpPr/>
          <p:nvPr/>
        </p:nvSpPr>
        <p:spPr bwMode="auto">
          <a:xfrm>
            <a:off x="10180669" y="1714571"/>
            <a:ext cx="1567472" cy="481244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77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nnect to your data in Microsoft 365</a:t>
            </a:r>
          </a:p>
        </p:txBody>
      </p:sp>
      <p:pic>
        <p:nvPicPr>
          <p:cNvPr id="3" name="!!CPS" descr="Image of Copilot Studio UI showing the agent building screen">
            <a:extLst>
              <a:ext uri="{FF2B5EF4-FFF2-40B4-BE49-F238E27FC236}">
                <a16:creationId xmlns:a16="http://schemas.microsoft.com/office/drawing/2014/main" id="{AE1299C6-2C9C-65D9-0B5B-86499E47D4F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3140" t="2748" r="3508" b="7764"/>
          <a:stretch>
            <a:fillRect/>
          </a:stretch>
        </p:blipFill>
        <p:spPr>
          <a:xfrm>
            <a:off x="3685992" y="2274670"/>
            <a:ext cx="4820016" cy="2760363"/>
          </a:xfrm>
          <a:prstGeom prst="roundRect">
            <a:avLst>
              <a:gd name="adj" fmla="val 1657"/>
            </a:avLst>
          </a:prstGeom>
        </p:spPr>
      </p:pic>
      <p:pic>
        <p:nvPicPr>
          <p:cNvPr id="73" name="!!MCS icon 2">
            <a:extLst>
              <a:ext uri="{FF2B5EF4-FFF2-40B4-BE49-F238E27FC236}">
                <a16:creationId xmlns:a16="http://schemas.microsoft.com/office/drawing/2014/main" id="{F5C3696D-5173-EBD5-BFC9-F142CF2F08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57774" y="5258778"/>
            <a:ext cx="482438" cy="468051"/>
          </a:xfrm>
          <a:prstGeom prst="rect">
            <a:avLst/>
          </a:prstGeom>
          <a:effectLst/>
        </p:spPr>
      </p:pic>
      <p:sp>
        <p:nvSpPr>
          <p:cNvPr id="13" name="!!MCS Header">
            <a:extLst>
              <a:ext uri="{FF2B5EF4-FFF2-40B4-BE49-F238E27FC236}">
                <a16:creationId xmlns:a16="http://schemas.microsoft.com/office/drawing/2014/main" id="{8B5D5D20-AA33-3987-C2EC-B9D1C1EC6380}"/>
              </a:ext>
            </a:extLst>
          </p:cNvPr>
          <p:cNvSpPr txBox="1"/>
          <p:nvPr/>
        </p:nvSpPr>
        <p:spPr>
          <a:xfrm>
            <a:off x="370193" y="5761507"/>
            <a:ext cx="3657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Building enterprise agents </a:t>
            </a:r>
            <a:br>
              <a:rPr kumimoji="0" lang="uk-UA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 Semibold" pitchFamily="2" charset="0"/>
              </a:rPr>
              <a:t>to transform business process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 Semibold" pitchFamily="2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7D30B2D-3E82-6F70-4F56-04398D0195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027151" y="5338915"/>
            <a:ext cx="0" cy="100584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!!MCS icon 1">
            <a:extLst>
              <a:ext uri="{FF2B5EF4-FFF2-40B4-BE49-F238E27FC236}">
                <a16:creationId xmlns:a16="http://schemas.microsoft.com/office/drawing/2014/main" id="{5315BC71-72A3-F1D7-1552-3A04F3B7EE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6191" y="5258778"/>
            <a:ext cx="482438" cy="468051"/>
          </a:xfrm>
          <a:prstGeom prst="rect">
            <a:avLst/>
          </a:prstGeom>
          <a:effectLst/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281D82A6-46F0-429F-D7F1-0F1803A112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008636" y="5338915"/>
            <a:ext cx="174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+</a:t>
            </a:r>
          </a:p>
        </p:txBody>
      </p:sp>
      <p:pic>
        <p:nvPicPr>
          <p:cNvPr id="74" name="!!Copilot Icon">
            <a:extLst>
              <a:ext uri="{FF2B5EF4-FFF2-40B4-BE49-F238E27FC236}">
                <a16:creationId xmlns:a16="http://schemas.microsoft.com/office/drawing/2014/main" id="{775AD717-BBEC-28C2-9AB5-41C3827419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3372" y="5273064"/>
            <a:ext cx="482438" cy="468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!!M365MCS Header">
            <a:extLst>
              <a:ext uri="{FF2B5EF4-FFF2-40B4-BE49-F238E27FC236}">
                <a16:creationId xmlns:a16="http://schemas.microsoft.com/office/drawing/2014/main" id="{53399CD2-E255-3563-C317-B3719E53E00C}"/>
              </a:ext>
            </a:extLst>
          </p:cNvPr>
          <p:cNvSpPr txBox="1"/>
          <p:nvPr/>
        </p:nvSpPr>
        <p:spPr>
          <a:xfrm>
            <a:off x="4028444" y="5770883"/>
            <a:ext cx="41351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Enhancing MS Copilot 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 Semibold" pitchFamily="2" charset="0"/>
              </a:rPr>
              <a:t>to improve information workers productivit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 Semibold" pitchFamily="2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848EA66-F198-4735-75DF-F0A80FDD5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164849" y="5338915"/>
            <a:ext cx="0" cy="100584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!!MCS icon 3">
            <a:extLst>
              <a:ext uri="{FF2B5EF4-FFF2-40B4-BE49-F238E27FC236}">
                <a16:creationId xmlns:a16="http://schemas.microsoft.com/office/drawing/2014/main" id="{220464DC-85F3-E5EC-80D0-C583AFFB45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07167" y="5258778"/>
            <a:ext cx="482438" cy="468051"/>
          </a:xfrm>
          <a:prstGeom prst="rect">
            <a:avLst/>
          </a:prstGeom>
          <a:effectLst/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741D023C-8278-9191-81B0-DD357A20D7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939613" y="5338915"/>
            <a:ext cx="17472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+</a:t>
            </a:r>
          </a:p>
        </p:txBody>
      </p:sp>
      <p:pic>
        <p:nvPicPr>
          <p:cNvPr id="76" name="!!Azue icon">
            <a:extLst>
              <a:ext uri="{FF2B5EF4-FFF2-40B4-BE49-F238E27FC236}">
                <a16:creationId xmlns:a16="http://schemas.microsoft.com/office/drawing/2014/main" id="{1CD9F5B4-26CC-C831-7AF5-E462FD3AF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264348" y="5291735"/>
            <a:ext cx="414501" cy="402137"/>
          </a:xfrm>
          <a:prstGeom prst="rect">
            <a:avLst/>
          </a:prstGeom>
          <a:effectLst/>
        </p:spPr>
      </p:pic>
      <p:sp>
        <p:nvSpPr>
          <p:cNvPr id="48" name="!!MCS Header">
            <a:extLst>
              <a:ext uri="{FF2B5EF4-FFF2-40B4-BE49-F238E27FC236}">
                <a16:creationId xmlns:a16="http://schemas.microsoft.com/office/drawing/2014/main" id="{B52F0115-0B60-6FDF-700A-C83FF2EA639C}"/>
              </a:ext>
            </a:extLst>
          </p:cNvPr>
          <p:cNvSpPr txBox="1"/>
          <p:nvPr/>
        </p:nvSpPr>
        <p:spPr>
          <a:xfrm>
            <a:off x="8164208" y="5761507"/>
            <a:ext cx="365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Works with Azure Foundry</a:t>
            </a:r>
          </a:p>
        </p:txBody>
      </p:sp>
    </p:spTree>
    <p:extLst>
      <p:ext uri="{BB962C8B-B14F-4D97-AF65-F5344CB8AC3E}">
        <p14:creationId xmlns:p14="http://schemas.microsoft.com/office/powerpoint/2010/main" val="24037122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.03889 L 0 -3.7037E-7 " pathEditMode="relative" rAng="0" ptsTypes="AA">
                                      <p:cBhvr>
                                        <p:cTn id="8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/>
      <p:bldP spid="56" grpId="0" animBg="1"/>
      <p:bldP spid="72" grpId="0"/>
      <p:bldP spid="70" grpId="0"/>
      <p:bldP spid="68" grpId="0"/>
      <p:bldP spid="66" grpId="0"/>
      <p:bldP spid="64" grpId="0"/>
      <p:bldP spid="13" grpId="0"/>
      <p:bldP spid="78" grpId="0"/>
      <p:bldP spid="10" grpId="0"/>
      <p:bldP spid="79" grpId="0"/>
      <p:bldP spid="4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D93F85-99E0-77F3-E0CA-8AA9E45B97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726C8C-C95A-9E33-E8AC-8E7BAF83C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pPr algn="ctr"/>
            <a:r>
              <a:rPr lang="en-US" dirty="0"/>
              <a:t>A range of tools for agent creatio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DB906CB-9BF6-51E0-B858-887AA81DAA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4200" y="1582428"/>
            <a:ext cx="11017250" cy="52322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  <a:tileRect r="-100000" b="-100000"/>
          </a:gradFill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58AB4A-3183-5C4B-D139-DB4F6C7C3B89}"/>
              </a:ext>
            </a:extLst>
          </p:cNvPr>
          <p:cNvSpPr txBox="1"/>
          <p:nvPr/>
        </p:nvSpPr>
        <p:spPr>
          <a:xfrm>
            <a:off x="754914" y="1736316"/>
            <a:ext cx="153665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No code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B528A57-7361-CA8C-54A6-648A73F96D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036440" y="1348368"/>
            <a:ext cx="991346" cy="991341"/>
          </a:xfrm>
          <a:prstGeom prst="ellipse">
            <a:avLst/>
          </a:prstGeom>
          <a:solidFill>
            <a:srgbClr val="194449">
              <a:alpha val="15000"/>
            </a:srgb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0BB79D1-94A1-0BE1-E710-384D0E3C49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133770" y="1445698"/>
            <a:ext cx="796687" cy="796680"/>
          </a:xfrm>
          <a:prstGeom prst="ellipse">
            <a:avLst/>
          </a:prstGeom>
          <a:solidFill>
            <a:schemeClr val="bg1"/>
          </a:solidFill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itchFamily="34" charset="0"/>
            </a:endParaRPr>
          </a:p>
        </p:txBody>
      </p:sp>
      <p:pic>
        <p:nvPicPr>
          <p:cNvPr id="12" name="Picture 11" descr="Copilot&#10;">
            <a:extLst>
              <a:ext uri="{FF2B5EF4-FFF2-40B4-BE49-F238E27FC236}">
                <a16:creationId xmlns:a16="http://schemas.microsoft.com/office/drawing/2014/main" id="{80797639-5EA2-5ED3-0AB6-4F4F85C8B9B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3" b="2923"/>
          <a:stretch/>
        </p:blipFill>
        <p:spPr>
          <a:xfrm>
            <a:off x="2262689" y="1590363"/>
            <a:ext cx="538849" cy="507350"/>
          </a:xfrm>
          <a:prstGeom prst="rect">
            <a:avLst/>
          </a:prstGeom>
          <a:ln w="7441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Rectangle: Rounded Corners 26">
            <a:extLst>
              <a:ext uri="{FF2B5EF4-FFF2-40B4-BE49-F238E27FC236}">
                <a16:creationId xmlns:a16="http://schemas.microsoft.com/office/drawing/2014/main" id="{115BFD27-6B1C-501E-2EEF-1CC85D90DF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31923" y="2661198"/>
            <a:ext cx="3200380" cy="2884756"/>
          </a:xfrm>
          <a:prstGeom prst="roundRect">
            <a:avLst>
              <a:gd name="adj" fmla="val 4624"/>
            </a:avLst>
          </a:prstGeom>
          <a:solidFill>
            <a:srgbClr val="194449">
              <a:alpha val="10000"/>
            </a:srgb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 useBgFill="1"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E132802-E3B2-EDD8-2C25-CD8B0FEEC499}"/>
              </a:ext>
            </a:extLst>
          </p:cNvPr>
          <p:cNvSpPr/>
          <p:nvPr/>
        </p:nvSpPr>
        <p:spPr bwMode="auto">
          <a:xfrm>
            <a:off x="1496771" y="2458756"/>
            <a:ext cx="2070684" cy="404575"/>
          </a:xfrm>
          <a:prstGeom prst="roundRect">
            <a:avLst>
              <a:gd name="adj" fmla="val 50000"/>
            </a:avLst>
          </a:pr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2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For end user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0AC27AAA-E194-BDFA-EF5A-4B63D999F6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03" y="2847539"/>
            <a:ext cx="3330820" cy="207090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AD5D8AA-9053-B696-7286-220A651A0D8D}"/>
              </a:ext>
            </a:extLst>
          </p:cNvPr>
          <p:cNvSpPr txBox="1"/>
          <p:nvPr/>
        </p:nvSpPr>
        <p:spPr>
          <a:xfrm>
            <a:off x="1631336" y="4847631"/>
            <a:ext cx="1801554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gent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ilder</a:t>
            </a: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BCFB285F-189C-FF89-808E-6A87A2255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600329" y="1348368"/>
            <a:ext cx="991344" cy="991341"/>
          </a:xfrm>
          <a:prstGeom prst="ellipse">
            <a:avLst/>
          </a:prstGeom>
          <a:solidFill>
            <a:srgbClr val="194449">
              <a:alpha val="15000"/>
            </a:srgb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82C1543D-B7D0-D501-4632-AFB1D6A47D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697658" y="1445698"/>
            <a:ext cx="796686" cy="796680"/>
          </a:xfrm>
          <a:prstGeom prst="ellipse">
            <a:avLst/>
          </a:prstGeom>
          <a:solidFill>
            <a:schemeClr val="bg1"/>
          </a:solidFill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itchFamily="34" charset="0"/>
            </a:endParaRPr>
          </a:p>
        </p:txBody>
      </p:sp>
      <p:pic>
        <p:nvPicPr>
          <p:cNvPr id="167" name="Graphic 166" descr="Copilot Studio">
            <a:extLst>
              <a:ext uri="{FF2B5EF4-FFF2-40B4-BE49-F238E27FC236}">
                <a16:creationId xmlns:a16="http://schemas.microsoft.com/office/drawing/2014/main" id="{7DB0DBA8-9BBC-8B0F-EDFA-240C32B12EE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35402" y="1576607"/>
            <a:ext cx="521199" cy="52119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: Rounded Corners 26">
            <a:extLst>
              <a:ext uri="{FF2B5EF4-FFF2-40B4-BE49-F238E27FC236}">
                <a16:creationId xmlns:a16="http://schemas.microsoft.com/office/drawing/2014/main" id="{88EA8689-9F6C-A7F3-D818-68BF9F7050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495811" y="2661198"/>
            <a:ext cx="3200380" cy="2884756"/>
          </a:xfrm>
          <a:prstGeom prst="roundRect">
            <a:avLst>
              <a:gd name="adj" fmla="val 4624"/>
            </a:avLst>
          </a:prstGeom>
          <a:solidFill>
            <a:srgbClr val="194449">
              <a:alpha val="10000"/>
            </a:srgb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 useBgFill="1"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EA36E2E-4805-9FDE-4121-ACBE6F915855}"/>
              </a:ext>
            </a:extLst>
          </p:cNvPr>
          <p:cNvSpPr/>
          <p:nvPr/>
        </p:nvSpPr>
        <p:spPr bwMode="auto">
          <a:xfrm>
            <a:off x="5034787" y="2456666"/>
            <a:ext cx="2122428" cy="401191"/>
          </a:xfrm>
          <a:prstGeom prst="roundRect">
            <a:avLst>
              <a:gd name="adj" fmla="val 50000"/>
            </a:avLst>
          </a:pr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2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For maker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079E4E2-5A90-1AAF-0CF7-567BAED671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62371" y="3050376"/>
            <a:ext cx="2667260" cy="1696210"/>
          </a:xfrm>
          <a:prstGeom prst="roundRect">
            <a:avLst>
              <a:gd name="adj" fmla="val 2856"/>
            </a:avLst>
          </a:prstGeom>
          <a:noFill/>
          <a:effectLst>
            <a:outerShdw blurRad="279400" algn="ctr" rotWithShape="0">
              <a:prstClr val="black">
                <a:alpha val="20000"/>
              </a:prstClr>
            </a:outerShdw>
          </a:effec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B55C27A-27BB-66B2-E905-2AA3C4716284}"/>
              </a:ext>
            </a:extLst>
          </p:cNvPr>
          <p:cNvSpPr txBox="1"/>
          <p:nvPr/>
        </p:nvSpPr>
        <p:spPr>
          <a:xfrm>
            <a:off x="5195120" y="4847631"/>
            <a:ext cx="180176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pilot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udio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72836E4-69D6-37B9-01F3-A4785A9A3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164216" y="1348368"/>
            <a:ext cx="991344" cy="991341"/>
          </a:xfrm>
          <a:prstGeom prst="ellipse">
            <a:avLst/>
          </a:prstGeom>
          <a:solidFill>
            <a:srgbClr val="194449">
              <a:alpha val="15000"/>
            </a:srgb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1B8F6CC-B85B-9C9D-EB5E-F12536FC6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261545" y="1445698"/>
            <a:ext cx="796686" cy="796680"/>
          </a:xfrm>
          <a:prstGeom prst="ellipse">
            <a:avLst/>
          </a:prstGeom>
          <a:solidFill>
            <a:schemeClr val="bg1"/>
          </a:solidFill>
          <a:ln w="158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itchFamily="34" charset="0"/>
            </a:endParaRPr>
          </a:p>
        </p:txBody>
      </p:sp>
      <p:pic>
        <p:nvPicPr>
          <p:cNvPr id="11" name="Picture 10" descr="Azure">
            <a:extLst>
              <a:ext uri="{FF2B5EF4-FFF2-40B4-BE49-F238E27FC236}">
                <a16:creationId xmlns:a16="http://schemas.microsoft.com/office/drawing/2014/main" id="{CC2E7CA4-6D1C-2F3D-DC4E-0CEA3C6B0A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418800" y="1602950"/>
            <a:ext cx="482176" cy="482176"/>
          </a:xfrm>
          <a:prstGeom prst="rect">
            <a:avLst/>
          </a:prstGeom>
          <a:ln w="7441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4" name="Rectangle: Rounded Corners 26">
            <a:extLst>
              <a:ext uri="{FF2B5EF4-FFF2-40B4-BE49-F238E27FC236}">
                <a16:creationId xmlns:a16="http://schemas.microsoft.com/office/drawing/2014/main" id="{7AEB8148-1489-0213-B31A-7598112A6E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059698" y="2661198"/>
            <a:ext cx="3200380" cy="2884756"/>
          </a:xfrm>
          <a:prstGeom prst="roundRect">
            <a:avLst>
              <a:gd name="adj" fmla="val 4624"/>
            </a:avLst>
          </a:prstGeom>
          <a:solidFill>
            <a:srgbClr val="194449">
              <a:alpha val="10000"/>
            </a:srgb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 useBgFill="1"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E905947-39AC-16F5-4215-93A48B3C91C9}"/>
              </a:ext>
            </a:extLst>
          </p:cNvPr>
          <p:cNvSpPr/>
          <p:nvPr/>
        </p:nvSpPr>
        <p:spPr bwMode="auto">
          <a:xfrm>
            <a:off x="8624546" y="2453383"/>
            <a:ext cx="2070684" cy="404575"/>
          </a:xfrm>
          <a:prstGeom prst="roundRect">
            <a:avLst>
              <a:gd name="adj" fmla="val 50000"/>
            </a:avLst>
          </a:pr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2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For developer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48BC541-D3A9-9796-51EA-6D1D24CDF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509" y="2968513"/>
            <a:ext cx="3032759" cy="188150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CC3E041B-C37A-A6AF-E31B-F5220402A8B4}"/>
              </a:ext>
            </a:extLst>
          </p:cNvPr>
          <p:cNvSpPr txBox="1"/>
          <p:nvPr/>
        </p:nvSpPr>
        <p:spPr>
          <a:xfrm>
            <a:off x="8199824" y="4847631"/>
            <a:ext cx="292012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pilot Studio, Azure AI Foundry &amp; Visual Studi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66A2D1C-D784-07AF-D961-48CB94EF2595}"/>
              </a:ext>
            </a:extLst>
          </p:cNvPr>
          <p:cNvSpPr txBox="1"/>
          <p:nvPr/>
        </p:nvSpPr>
        <p:spPr>
          <a:xfrm>
            <a:off x="10155560" y="1736316"/>
            <a:ext cx="122918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Pro cod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2F48BFA-2B22-63F6-5304-C1A1D1885E7D}"/>
              </a:ext>
            </a:extLst>
          </p:cNvPr>
          <p:cNvSpPr>
            <a:spLocks/>
          </p:cNvSpPr>
          <p:nvPr/>
        </p:nvSpPr>
        <p:spPr bwMode="auto">
          <a:xfrm>
            <a:off x="588963" y="5884893"/>
            <a:ext cx="11023364" cy="47607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A58AD4">
                  <a:alpha val="26738"/>
                </a:srgbClr>
              </a:gs>
              <a:gs pos="80000">
                <a:srgbClr val="46A0DE">
                  <a:alpha val="21269"/>
                </a:srgbClr>
              </a:gs>
            </a:gsLst>
            <a:path path="circle">
              <a:fillToRect l="100000" t="100000"/>
            </a:path>
          </a:gradFill>
          <a:ln w="19050" cap="rnd">
            <a:noFill/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-2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Data protection, agent sharing &amp; usage limits, and reporting &amp; cost management</a:t>
            </a:r>
          </a:p>
        </p:txBody>
      </p:sp>
    </p:spTree>
    <p:extLst>
      <p:ext uri="{BB962C8B-B14F-4D97-AF65-F5344CB8AC3E}">
        <p14:creationId xmlns:p14="http://schemas.microsoft.com/office/powerpoint/2010/main" val="20401317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7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2.96296E-6 L -8.33333E-7 0.03542 " pathEditMode="relative" rAng="0" ptsTypes="AA">
                                      <p:cBhvr>
                                        <p:cTn id="85" dur="7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animBg="1"/>
      <p:bldP spid="9" grpId="0"/>
      <p:bldP spid="40" grpId="0" animBg="1"/>
      <p:bldP spid="41" grpId="0" animBg="1"/>
      <p:bldP spid="7" grpId="0" animBg="1"/>
      <p:bldP spid="27" grpId="0" animBg="1"/>
      <p:bldP spid="29" grpId="0"/>
      <p:bldP spid="168" grpId="0" animBg="1"/>
      <p:bldP spid="169" grpId="0" animBg="1"/>
      <p:bldP spid="8" grpId="0" animBg="1"/>
      <p:bldP spid="20" grpId="0" animBg="1"/>
      <p:bldP spid="21" grpId="0"/>
      <p:bldP spid="42" grpId="0" animBg="1"/>
      <p:bldP spid="43" grpId="0" animBg="1"/>
      <p:bldP spid="14" grpId="0" animBg="1"/>
      <p:bldP spid="23" grpId="0" animBg="1"/>
      <p:bldP spid="25" grpId="0"/>
      <p:bldP spid="10" grpId="0"/>
      <p:bldP spid="3" grpId="0" animBg="1"/>
      <p:bldP spid="3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C0F3A0-1FAD-3A93-6DB9-9517085B4D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2CFA444-73F8-0CD1-76B3-A49816BBB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963" y="457200"/>
            <a:ext cx="11017250" cy="554038"/>
          </a:xfrm>
        </p:spPr>
        <p:txBody>
          <a:bodyPr/>
          <a:lstStyle/>
          <a:p>
            <a:pPr algn="ctr"/>
            <a:r>
              <a:rPr lang="en-US" dirty="0"/>
              <a:t>How does it all fit together?</a:t>
            </a:r>
          </a:p>
        </p:txBody>
      </p:sp>
      <p:sp>
        <p:nvSpPr>
          <p:cNvPr id="162" name="Rectangle: Rounded Corners 161">
            <a:extLst>
              <a:ext uri="{FF2B5EF4-FFF2-40B4-BE49-F238E27FC236}">
                <a16:creationId xmlns:a16="http://schemas.microsoft.com/office/drawing/2014/main" id="{5665B479-DE93-83B1-48C7-1D0888D81DC7}"/>
              </a:ext>
            </a:extLst>
          </p:cNvPr>
          <p:cNvSpPr/>
          <p:nvPr/>
        </p:nvSpPr>
        <p:spPr>
          <a:xfrm>
            <a:off x="1877453" y="1262567"/>
            <a:ext cx="1444389" cy="337578"/>
          </a:xfrm>
          <a:prstGeom prst="roundRect">
            <a:avLst>
              <a:gd name="adj" fmla="val 50000"/>
            </a:avLst>
          </a:prstGeom>
          <a:solidFill>
            <a:srgbClr val="0A6BBA"/>
          </a:solidFill>
        </p:spPr>
        <p:txBody>
          <a:bodyPr wrap="square" lIns="91440" tIns="18288" rIns="91440" bIns="36576" rtlCol="0" anchor="ctr" anchorCtr="0">
            <a:noAutofit/>
          </a:bodyPr>
          <a:lstStyle/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15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" pitchFamily="34" charset="0"/>
              </a:rPr>
              <a:t>1 - Trigger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CBAEB5E-A8EA-EF27-DFCF-3E8935D44B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 rot="16200000" flipH="1">
            <a:off x="1531647" y="1706445"/>
            <a:ext cx="2082686" cy="2130781"/>
          </a:xfrm>
          <a:prstGeom prst="roundRect">
            <a:avLst>
              <a:gd name="adj" fmla="val 9934"/>
            </a:avLst>
          </a:prstGeom>
          <a:solidFill>
            <a:srgbClr val="194449">
              <a:alpha val="5000"/>
            </a:srgbClr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DEB19C21-BD58-A816-9207-D75F1A18A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V="1">
            <a:off x="1504797" y="3913809"/>
            <a:ext cx="2146695" cy="1932352"/>
          </a:xfrm>
          <a:prstGeom prst="round2SameRect">
            <a:avLst>
              <a:gd name="adj1" fmla="val 7173"/>
              <a:gd name="adj2" fmla="val 0"/>
            </a:avLst>
          </a:prstGeom>
          <a:solidFill>
            <a:srgbClr val="194449">
              <a:alpha val="5000"/>
            </a:srgbClr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F7C42CDB-73DA-13B4-5960-15FC132ECA23}"/>
              </a:ext>
            </a:extLst>
          </p:cNvPr>
          <p:cNvSpPr/>
          <p:nvPr/>
        </p:nvSpPr>
        <p:spPr>
          <a:xfrm>
            <a:off x="1506075" y="1730491"/>
            <a:ext cx="2132303" cy="403839"/>
          </a:xfrm>
          <a:prstGeom prst="round2SameRect">
            <a:avLst>
              <a:gd name="adj1" fmla="val 42519"/>
              <a:gd name="adj2" fmla="val 0"/>
            </a:avLst>
          </a:prstGeom>
          <a:solidFill>
            <a:srgbClr val="C0CBCC"/>
          </a:solidFill>
          <a:ln w="9525" cap="flat" cmpd="sng" algn="ctr">
            <a:noFill/>
            <a:prstDash val="solid"/>
          </a:ln>
          <a:effectLst/>
        </p:spPr>
        <p:txBody>
          <a:bodyPr bIns="91440" rtlCol="0" anchor="ctr"/>
          <a:lstStyle/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371655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gent automatically</a:t>
            </a:r>
            <a:br>
              <a:rPr kumimoji="0" lang="en-US" sz="900" b="0" i="0" u="none" strike="noStrike" kern="1200" cap="none" spc="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</a:br>
            <a:r>
              <a:rPr kumimoji="0" lang="en-US" sz="900" b="0" i="0" u="none" strike="noStrike" kern="1200" cap="none" spc="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reacts to triggers</a:t>
            </a:r>
          </a:p>
        </p:txBody>
      </p:sp>
      <p:sp useBgFill="1">
        <p:nvSpPr>
          <p:cNvPr id="153" name="Rectangle: Rounded Corners 6">
            <a:extLst>
              <a:ext uri="{FF2B5EF4-FFF2-40B4-BE49-F238E27FC236}">
                <a16:creationId xmlns:a16="http://schemas.microsoft.com/office/drawing/2014/main" id="{2108E3BC-A0ED-C38F-127F-868FF393B7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665506" y="2601635"/>
            <a:ext cx="1788443" cy="516597"/>
          </a:xfrm>
          <a:prstGeom prst="roundRect">
            <a:avLst>
              <a:gd name="adj" fmla="val 13802"/>
            </a:avLst>
          </a:prstGeom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21D7C103-8D76-D455-C4C7-7E544ACB14B5}"/>
              </a:ext>
            </a:extLst>
          </p:cNvPr>
          <p:cNvSpPr txBox="1"/>
          <p:nvPr/>
        </p:nvSpPr>
        <p:spPr>
          <a:xfrm>
            <a:off x="2003223" y="2704905"/>
            <a:ext cx="140607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When a new email arrives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Office 365 Outlook</a:t>
            </a: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21627546-A1A7-7560-43DA-F976C02D62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37094" y="2453374"/>
            <a:ext cx="283992" cy="283993"/>
          </a:xfrm>
          <a:prstGeom prst="ellipse">
            <a:avLst/>
          </a:prstGeom>
          <a:noFill/>
          <a:ln w="9525">
            <a:solidFill>
              <a:srgbClr val="63B1E5">
                <a:alpha val="70000"/>
              </a:srgb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20B042A0-99B3-6ACD-F517-B8EDE0D330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15130" y="2431410"/>
            <a:ext cx="327921" cy="327922"/>
          </a:xfrm>
          <a:prstGeom prst="ellipse">
            <a:avLst/>
          </a:prstGeom>
          <a:noFill/>
          <a:ln w="9525">
            <a:solidFill>
              <a:srgbClr val="63B1E5">
                <a:alpha val="47000"/>
              </a:srgb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4975CC68-9B38-D903-7C1D-785B700AEB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63976" y="2480256"/>
            <a:ext cx="230229" cy="230230"/>
          </a:xfrm>
          <a:prstGeom prst="ellipse">
            <a:avLst/>
          </a:prstGeom>
          <a:solidFill>
            <a:srgbClr val="DAEDFC"/>
          </a:solidFill>
          <a:ln w="9525">
            <a:solidFill>
              <a:srgbClr val="63B1E5"/>
            </a:solidFill>
          </a:ln>
          <a:effectLst>
            <a:outerShdw blurRad="25400" dist="38100" dir="2700000" sx="89000" sy="89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61" name="Graphic 160">
            <a:extLst>
              <a:ext uri="{FF2B5EF4-FFF2-40B4-BE49-F238E27FC236}">
                <a16:creationId xmlns:a16="http://schemas.microsoft.com/office/drawing/2014/main" id="{ABF523C8-3CE0-153B-25A2-197C7A2C96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95299" y="2510351"/>
            <a:ext cx="182161" cy="182162"/>
          </a:xfrm>
          <a:prstGeom prst="rect">
            <a:avLst/>
          </a:prstGeom>
        </p:spPr>
      </p:pic>
      <p:pic>
        <p:nvPicPr>
          <p:cNvPr id="156" name="Picture 155">
            <a:extLst>
              <a:ext uri="{FF2B5EF4-FFF2-40B4-BE49-F238E27FC236}">
                <a16:creationId xmlns:a16="http://schemas.microsoft.com/office/drawing/2014/main" id="{F72B94FE-BC4F-1038-C00B-BE343F8E92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536" y="2684810"/>
            <a:ext cx="325007" cy="325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08CE9C39-F280-ED07-4B07-526B827569D9}"/>
              </a:ext>
            </a:extLst>
          </p:cNvPr>
          <p:cNvSpPr/>
          <p:nvPr/>
        </p:nvSpPr>
        <p:spPr>
          <a:xfrm>
            <a:off x="1504795" y="3576241"/>
            <a:ext cx="9251765" cy="337676"/>
          </a:xfrm>
          <a:prstGeom prst="rect">
            <a:avLst/>
          </a:prstGeom>
          <a:gradFill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Orchestration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Sans Display Semibold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69D723F-817B-428A-1201-075C53BF9467}"/>
              </a:ext>
            </a:extLst>
          </p:cNvPr>
          <p:cNvSpPr/>
          <p:nvPr/>
        </p:nvSpPr>
        <p:spPr>
          <a:xfrm>
            <a:off x="1507596" y="3932137"/>
            <a:ext cx="2138962" cy="403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Tell your agents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when to act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649BECB-BB32-84C3-C5CC-8C5C6213D6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66284" y="4394207"/>
            <a:ext cx="1814731" cy="374720"/>
          </a:xfrm>
          <a:prstGeom prst="roundRect">
            <a:avLst/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D3796CA-CD5C-AB83-B9EF-84E4D7399A57}"/>
              </a:ext>
            </a:extLst>
          </p:cNvPr>
          <p:cNvSpPr txBox="1"/>
          <p:nvPr/>
        </p:nvSpPr>
        <p:spPr>
          <a:xfrm>
            <a:off x="1962401" y="4423429"/>
            <a:ext cx="1599102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When an item is created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SharePoint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0D3AED00-C95C-8613-5B37-4335AE12BD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136" y="4416420"/>
            <a:ext cx="331753" cy="33175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7F62BF84-C525-8B7A-59BB-F302A114A6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401719" y="1440820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61BB0888-80B9-210A-1639-0B2AF2285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401719" y="1388681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71AEE10A-B286-AAC2-DD96-9B658E10D5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489958" y="1440820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D088C187-85AC-5213-B9A2-0CC133EF7E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489958" y="1388681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5EE3FACA-97F2-3577-CB16-8FDD094487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578199" y="1440820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2053C4CE-7ABF-5B16-B9EC-A50D72734F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78199" y="1388681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9940B3BE-D811-F305-3D7E-44248B59DC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665550" y="144082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000127BB-E357-61FF-8CE3-2235119DD6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665550" y="138868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D8592732-3C66-1324-90D8-52D1603FA3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753790" y="144082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40">
            <a:extLst>
              <a:ext uri="{FF2B5EF4-FFF2-40B4-BE49-F238E27FC236}">
                <a16:creationId xmlns:a16="http://schemas.microsoft.com/office/drawing/2014/main" id="{31A5F16E-51D8-F879-145C-34FA2E21E1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53790" y="138868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A346C940-7644-1B20-790E-FAE796D12E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842031" y="144082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D7A0BE7A-626E-B44B-A63D-B7974ACFBC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842031" y="138868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C6FA85B7-44AD-1A3B-C9A4-C1A0608FEF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66284" y="4867236"/>
            <a:ext cx="1814731" cy="374720"/>
          </a:xfrm>
          <a:prstGeom prst="roundRect">
            <a:avLst/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47FE8C60-B7E4-85E7-636D-FC1BC26A3A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66290" y="5340266"/>
            <a:ext cx="1469042" cy="374720"/>
          </a:xfrm>
          <a:prstGeom prst="roundRect">
            <a:avLst/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5A8DBCA-FD32-F2F8-1372-0AA569F443CF}"/>
              </a:ext>
            </a:extLst>
          </p:cNvPr>
          <p:cNvSpPr txBox="1"/>
          <p:nvPr/>
        </p:nvSpPr>
        <p:spPr>
          <a:xfrm>
            <a:off x="1962401" y="4899625"/>
            <a:ext cx="1413495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When a new hire starts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HR Management</a:t>
            </a:r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193F1BD5-2607-9352-1E5B-B66894B2BD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05750" y="4909095"/>
            <a:ext cx="308524" cy="308524"/>
          </a:xfrm>
          <a:prstGeom prst="rect">
            <a:avLst/>
          </a:prstGeom>
          <a:effectLst/>
        </p:spPr>
      </p:pic>
      <p:sp>
        <p:nvSpPr>
          <p:cNvPr id="103" name="TextBox 102">
            <a:extLst>
              <a:ext uri="{FF2B5EF4-FFF2-40B4-BE49-F238E27FC236}">
                <a16:creationId xmlns:a16="http://schemas.microsoft.com/office/drawing/2014/main" id="{0DB8C812-27D6-4BDE-FD9D-229FDFBF91C7}"/>
              </a:ext>
            </a:extLst>
          </p:cNvPr>
          <p:cNvSpPr txBox="1"/>
          <p:nvPr/>
        </p:nvSpPr>
        <p:spPr>
          <a:xfrm>
            <a:off x="1962401" y="5378425"/>
            <a:ext cx="1173394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Recurrence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Schedule</a:t>
            </a: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5108333E-E0CB-8AD9-ED26-1D2B9F684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651" y="5378100"/>
            <a:ext cx="312719" cy="31271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C3EBDBC8-B16A-2A0F-144D-BD80097F5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17010" y="5389666"/>
            <a:ext cx="279496" cy="279496"/>
          </a:xfrm>
          <a:prstGeom prst="rect">
            <a:avLst/>
          </a:prstGeom>
          <a:effectLst/>
        </p:spPr>
      </p:pic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3E3A469F-0465-3867-0211-885CB04B2F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930272" y="144082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801634D4-7C2B-5EAB-F1FA-E4CEC9D5FD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930272" y="138868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9F315F83-4A61-1F1C-37A1-B4687AC78C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4018511" y="144082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26E47673-5C01-0626-666B-8E7AA2D23A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018511" y="138868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10AB6FBB-C440-0764-E08D-1F99A989C2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4106752" y="1440825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9DAAA918-366C-D924-858D-6FD8CD92D4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106752" y="1388686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: Rounded Corners 162">
            <a:extLst>
              <a:ext uri="{FF2B5EF4-FFF2-40B4-BE49-F238E27FC236}">
                <a16:creationId xmlns:a16="http://schemas.microsoft.com/office/drawing/2014/main" id="{5AC8EB34-7720-8010-D52C-EBE32D683CAD}"/>
              </a:ext>
            </a:extLst>
          </p:cNvPr>
          <p:cNvSpPr/>
          <p:nvPr/>
        </p:nvSpPr>
        <p:spPr>
          <a:xfrm>
            <a:off x="4228778" y="1262567"/>
            <a:ext cx="1444389" cy="337578"/>
          </a:xfrm>
          <a:prstGeom prst="roundRect">
            <a:avLst>
              <a:gd name="adj" fmla="val 50000"/>
            </a:avLst>
          </a:prstGeom>
          <a:solidFill>
            <a:srgbClr val="1F67B8"/>
          </a:solidFill>
        </p:spPr>
        <p:txBody>
          <a:bodyPr wrap="square" lIns="91440" tIns="18288" rIns="91440" bIns="36576" rtlCol="0" anchor="ctr" anchorCtr="0">
            <a:noAutofit/>
          </a:bodyPr>
          <a:lstStyle/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15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" pitchFamily="34" charset="0"/>
              </a:rPr>
              <a:t>2 - Instruction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8E9E62B-ADEC-6903-84DB-22BE9CC53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 rot="16200000" flipH="1">
            <a:off x="3901928" y="1710334"/>
            <a:ext cx="2082688" cy="2138962"/>
          </a:xfrm>
          <a:prstGeom prst="roundRect">
            <a:avLst>
              <a:gd name="adj" fmla="val 9934"/>
            </a:avLst>
          </a:prstGeom>
          <a:solidFill>
            <a:srgbClr val="194449">
              <a:alpha val="5000"/>
            </a:srgbClr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EDD3A3B-7D1F-854B-87C3-E5C1F7E53C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V="1">
            <a:off x="3878850" y="3913809"/>
            <a:ext cx="2146695" cy="1932352"/>
          </a:xfrm>
          <a:prstGeom prst="round2SameRect">
            <a:avLst>
              <a:gd name="adj1" fmla="val 7648"/>
              <a:gd name="adj2" fmla="val 0"/>
            </a:avLst>
          </a:prstGeom>
          <a:solidFill>
            <a:srgbClr val="194449">
              <a:alpha val="5000"/>
            </a:srgbClr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FEE58036-C62C-5746-7A1C-E0697AAC8ED8}"/>
              </a:ext>
            </a:extLst>
          </p:cNvPr>
          <p:cNvSpPr/>
          <p:nvPr/>
        </p:nvSpPr>
        <p:spPr>
          <a:xfrm>
            <a:off x="3869624" y="1730491"/>
            <a:ext cx="2147766" cy="403839"/>
          </a:xfrm>
          <a:prstGeom prst="round2SameRect">
            <a:avLst>
              <a:gd name="adj1" fmla="val 41688"/>
              <a:gd name="adj2" fmla="val 0"/>
            </a:avLst>
          </a:prstGeom>
          <a:solidFill>
            <a:srgbClr val="C0CBCC"/>
          </a:solidFill>
          <a:ln w="9525" cap="flat" cmpd="sng" algn="ctr">
            <a:noFill/>
            <a:prstDash val="solid"/>
          </a:ln>
          <a:effectLst/>
        </p:spPr>
        <p:txBody>
          <a:bodyPr bIns="91440" rtlCol="0" anchor="ctr"/>
          <a:lstStyle/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371655" algn="l"/>
              </a:tabLst>
              <a:defRPr/>
            </a:pPr>
            <a:r>
              <a:rPr kumimoji="0" lang="en-US" sz="9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gent follows</a:t>
            </a:r>
            <a:br>
              <a:rPr kumimoji="0" lang="en-US" sz="9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your instructions</a:t>
            </a:r>
          </a:p>
        </p:txBody>
      </p:sp>
      <p:sp>
        <p:nvSpPr>
          <p:cNvPr id="114" name="Rectangle: Rounded Corners 6">
            <a:extLst>
              <a:ext uri="{FF2B5EF4-FFF2-40B4-BE49-F238E27FC236}">
                <a16:creationId xmlns:a16="http://schemas.microsoft.com/office/drawing/2014/main" id="{30329142-B735-FFB6-6CDD-22B6F4EF10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068460" y="2243476"/>
            <a:ext cx="1775901" cy="1230103"/>
          </a:xfrm>
          <a:prstGeom prst="roundRect">
            <a:avLst>
              <a:gd name="adj" fmla="val 9656"/>
            </a:avLst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B9FBD947-E4CA-3AA1-7AE4-E5CF0BA69904}"/>
              </a:ext>
            </a:extLst>
          </p:cNvPr>
          <p:cNvSpPr txBox="1"/>
          <p:nvPr/>
        </p:nvSpPr>
        <p:spPr>
          <a:xfrm>
            <a:off x="4148923" y="2450655"/>
            <a:ext cx="1524244" cy="877163"/>
          </a:xfrm>
          <a:prstGeom prst="rect">
            <a:avLst/>
          </a:prstGeom>
          <a:noFill/>
        </p:spPr>
        <p:txBody>
          <a:bodyPr wrap="square" lIns="0" tIns="91440" rIns="0" rtlCol="0" anchor="ctr">
            <a:spAutoFit/>
          </a:bodyPr>
          <a:lstStyle/>
          <a:p>
            <a:pPr marL="8000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I recently purchased a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product from your company, but unfortunately, it arrived broken. I would like to request a replacement. Could you please assist me with this?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C6B82D6-125D-EA0B-A4A0-231CB1666D07}"/>
              </a:ext>
            </a:extLst>
          </p:cNvPr>
          <p:cNvSpPr/>
          <p:nvPr/>
        </p:nvSpPr>
        <p:spPr>
          <a:xfrm>
            <a:off x="3884861" y="3932137"/>
            <a:ext cx="2138962" cy="403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Design your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agents’ behavior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4BEC216-30BD-EEFB-4CBB-9AEA4BD48C54}"/>
              </a:ext>
            </a:extLst>
          </p:cNvPr>
          <p:cNvSpPr/>
          <p:nvPr/>
        </p:nvSpPr>
        <p:spPr>
          <a:xfrm>
            <a:off x="4161828" y="4390519"/>
            <a:ext cx="1603658" cy="292006"/>
          </a:xfrm>
          <a:prstGeom prst="roundRect">
            <a:avLst>
              <a:gd name="adj" fmla="val 14585"/>
            </a:avLst>
          </a:prstGeom>
          <a:solidFill>
            <a:srgbClr val="2067B7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Build the way you want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754223D8-B301-C25A-F8FF-6CE0404382AD}"/>
              </a:ext>
            </a:extLst>
          </p:cNvPr>
          <p:cNvSpPr/>
          <p:nvPr/>
        </p:nvSpPr>
        <p:spPr>
          <a:xfrm>
            <a:off x="4172715" y="4745190"/>
            <a:ext cx="1580336" cy="203895"/>
          </a:xfrm>
          <a:prstGeom prst="roundRect">
            <a:avLst/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Natural language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D230ECD-204F-1D89-D477-D74C6CDF6FAA}"/>
              </a:ext>
            </a:extLst>
          </p:cNvPr>
          <p:cNvSpPr/>
          <p:nvPr/>
        </p:nvSpPr>
        <p:spPr>
          <a:xfrm>
            <a:off x="4172715" y="5011750"/>
            <a:ext cx="1580336" cy="203895"/>
          </a:xfrm>
          <a:prstGeom prst="roundRect">
            <a:avLst/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Pre-built templates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1872B0F-1DA8-B640-65E5-E77379CEE671}"/>
              </a:ext>
            </a:extLst>
          </p:cNvPr>
          <p:cNvSpPr/>
          <p:nvPr/>
        </p:nvSpPr>
        <p:spPr>
          <a:xfrm>
            <a:off x="4172715" y="5278310"/>
            <a:ext cx="1580336" cy="203895"/>
          </a:xfrm>
          <a:prstGeom prst="roundRect">
            <a:avLst/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Visual canvas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5D5E1B1-9263-0968-25F6-8C18429EBB77}"/>
              </a:ext>
            </a:extLst>
          </p:cNvPr>
          <p:cNvSpPr/>
          <p:nvPr/>
        </p:nvSpPr>
        <p:spPr>
          <a:xfrm>
            <a:off x="4172715" y="5544869"/>
            <a:ext cx="1580336" cy="203895"/>
          </a:xfrm>
          <a:prstGeom prst="roundRect">
            <a:avLst/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Code</a:t>
            </a:r>
          </a:p>
        </p:txBody>
      </p: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667712EB-ACFF-D7F7-A674-7920441885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5760071" y="1440820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BEE05784-1045-17A4-85D9-7E342CF5E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760071" y="1388681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7166F6C9-1CFB-815B-01B4-3EED4E082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5848310" y="1440820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4CF7974-B11D-EF7B-B900-8708912078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8310" y="1388681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8F7A954A-F567-5C23-BF78-6AA59B23DE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5936551" y="1440820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C0CCA426-7E88-F5CD-1847-42D5DF18C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936551" y="1388681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C7297F96-811C-3535-AD27-E501F59F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023902" y="144082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0D82F579-81C4-3775-CED9-2A652B21CC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23902" y="138868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5129E759-56AB-0FF6-F3D1-F0E2E38571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112142" y="144082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CF7E6677-7B61-0AFD-D018-3332ACEB6D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112142" y="138868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77089078-B560-9BC1-A14D-4226A49DD4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200383" y="144082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C09FECBB-5888-C109-2B12-7E5F600C88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00383" y="138868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355749D2-3878-44C4-A67B-01CFDA2A0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288624" y="144082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0BF02733-8C3E-310B-F37B-D1B7D3C175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88624" y="138868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40FDFF02-C69B-DE8F-415C-B62BB4700A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376863" y="144082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0F68583D-02A2-EDB2-A76C-CCABD94B31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376863" y="138868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5CC3CC07-3173-1272-7BC0-19225C8797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465104" y="1440825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9273B4F2-3DC0-60F0-0B6A-F9540F110D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465104" y="1388686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921DBDAC-3AEC-E9C3-71DB-9576913174EE}"/>
              </a:ext>
            </a:extLst>
          </p:cNvPr>
          <p:cNvSpPr/>
          <p:nvPr/>
        </p:nvSpPr>
        <p:spPr>
          <a:xfrm>
            <a:off x="6580102" y="1262567"/>
            <a:ext cx="1444389" cy="337578"/>
          </a:xfrm>
          <a:prstGeom prst="roundRect">
            <a:avLst>
              <a:gd name="adj" fmla="val 50000"/>
            </a:avLst>
          </a:prstGeom>
          <a:solidFill>
            <a:srgbClr val="4260B4"/>
          </a:solidFill>
        </p:spPr>
        <p:txBody>
          <a:bodyPr wrap="square" lIns="91440" tIns="18288" rIns="91440" bIns="36576" rtlCol="0" anchor="ctr" anchorCtr="0">
            <a:noAutofit/>
          </a:bodyPr>
          <a:lstStyle/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15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" pitchFamily="34" charset="0"/>
              </a:rPr>
              <a:t>3 - Pla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4343E14-7B87-1ACF-3275-A7FF3D01B5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 rot="16200000" flipH="1">
            <a:off x="6275194" y="1707476"/>
            <a:ext cx="2074709" cy="2136701"/>
          </a:xfrm>
          <a:prstGeom prst="roundRect">
            <a:avLst>
              <a:gd name="adj" fmla="val 9934"/>
            </a:avLst>
          </a:prstGeom>
          <a:solidFill>
            <a:srgbClr val="194449">
              <a:alpha val="5000"/>
            </a:srgbClr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0361E455-9ABD-1204-647F-5843A63C4F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V="1">
            <a:off x="6239583" y="3910191"/>
            <a:ext cx="2146695" cy="2557663"/>
          </a:xfrm>
          <a:prstGeom prst="round2SameRect">
            <a:avLst>
              <a:gd name="adj1" fmla="val 7911"/>
              <a:gd name="adj2" fmla="val 0"/>
            </a:avLst>
          </a:prstGeom>
          <a:solidFill>
            <a:srgbClr val="194449">
              <a:alpha val="5000"/>
            </a:srgbClr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ACF32E1A-B4D7-8EDB-3176-2243A6E54BCB}"/>
              </a:ext>
            </a:extLst>
          </p:cNvPr>
          <p:cNvSpPr/>
          <p:nvPr/>
        </p:nvSpPr>
        <p:spPr>
          <a:xfrm>
            <a:off x="6237364" y="1730491"/>
            <a:ext cx="2143533" cy="403839"/>
          </a:xfrm>
          <a:prstGeom prst="round2SameRect">
            <a:avLst>
              <a:gd name="adj1" fmla="val 44181"/>
              <a:gd name="adj2" fmla="val 0"/>
            </a:avLst>
          </a:prstGeom>
          <a:solidFill>
            <a:srgbClr val="C0CBCC"/>
          </a:solidFill>
          <a:ln w="9525" cap="flat" cmpd="sng" algn="ctr">
            <a:noFill/>
            <a:prstDash val="solid"/>
          </a:ln>
          <a:effectLst/>
        </p:spPr>
        <p:txBody>
          <a:bodyPr bIns="91440" rtlCol="0" anchor="ctr"/>
          <a:lstStyle/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371655" algn="l"/>
              </a:tabLst>
              <a:defRPr/>
            </a:pPr>
            <a:r>
              <a:rPr kumimoji="0" lang="en-US" sz="9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gent completes the ask using</a:t>
            </a:r>
            <a:br>
              <a:rPr kumimoji="0" lang="en-US" sz="9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your data and knowledge</a:t>
            </a:r>
          </a:p>
        </p:txBody>
      </p:sp>
      <p:sp>
        <p:nvSpPr>
          <p:cNvPr id="136" name="Rectangle: Rounded Corners 6">
            <a:extLst>
              <a:ext uri="{FF2B5EF4-FFF2-40B4-BE49-F238E27FC236}">
                <a16:creationId xmlns:a16="http://schemas.microsoft.com/office/drawing/2014/main" id="{3D6A7A2C-BA14-64BD-692B-38B6E1CFE8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408211" y="2249769"/>
            <a:ext cx="1770068" cy="1214488"/>
          </a:xfrm>
          <a:prstGeom prst="roundRect">
            <a:avLst>
              <a:gd name="adj" fmla="val 10289"/>
            </a:avLst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2AB3700D-55E3-EF9E-4FCD-F7D9CEE8E6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08259" y="2895041"/>
            <a:ext cx="271818" cy="271818"/>
          </a:xfrm>
          <a:prstGeom prst="ellipse">
            <a:avLst/>
          </a:prstGeom>
          <a:solidFill>
            <a:srgbClr val="DAEDFC"/>
          </a:solidFill>
          <a:ln w="9525">
            <a:solidFill>
              <a:srgbClr val="63B1E5"/>
            </a:solidFill>
          </a:ln>
          <a:effectLst>
            <a:outerShdw blurRad="25400" dist="38100" dir="2700000" sx="89000" sy="89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A0D36C34-24F9-E86A-76F3-D7C083C98A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76521" y="2863310"/>
            <a:ext cx="335293" cy="335293"/>
          </a:xfrm>
          <a:prstGeom prst="ellipse">
            <a:avLst/>
          </a:prstGeom>
          <a:noFill/>
          <a:ln w="9525">
            <a:solidFill>
              <a:srgbClr val="63B1E5">
                <a:alpha val="70000"/>
              </a:srgb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3027494C-03F6-26D5-02B2-651A9B828B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50591" y="2837371"/>
            <a:ext cx="387157" cy="387157"/>
          </a:xfrm>
          <a:prstGeom prst="ellipse">
            <a:avLst/>
          </a:prstGeom>
          <a:noFill/>
          <a:ln w="9525">
            <a:solidFill>
              <a:srgbClr val="63B1E5">
                <a:alpha val="47000"/>
              </a:srgb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39" name="Picture 138">
            <a:extLst>
              <a:ext uri="{FF2B5EF4-FFF2-40B4-BE49-F238E27FC236}">
                <a16:creationId xmlns:a16="http://schemas.microsoft.com/office/drawing/2014/main" id="{1925D792-4CEE-0FCC-ACD8-D9695DCE1A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5606" y="2907115"/>
            <a:ext cx="244160" cy="244160"/>
          </a:xfrm>
          <a:prstGeom prst="rect">
            <a:avLst/>
          </a:prstGeom>
        </p:spPr>
      </p:pic>
      <p:sp>
        <p:nvSpPr>
          <p:cNvPr id="120" name="TextBox 119">
            <a:extLst>
              <a:ext uri="{FF2B5EF4-FFF2-40B4-BE49-F238E27FC236}">
                <a16:creationId xmlns:a16="http://schemas.microsoft.com/office/drawing/2014/main" id="{70C60953-542E-C5BE-875D-6E13260902F4}"/>
              </a:ext>
            </a:extLst>
          </p:cNvPr>
          <p:cNvSpPr txBox="1"/>
          <p:nvPr/>
        </p:nvSpPr>
        <p:spPr>
          <a:xfrm>
            <a:off x="6797200" y="2339945"/>
            <a:ext cx="1123615" cy="102592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Refunds and replac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Company websi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Send an ema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Analyze an ima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Message in Copilot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63C8B208-7341-FC23-E300-ECAA63E2F0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877409" y="2559254"/>
            <a:ext cx="861600" cy="0"/>
          </a:xfrm>
          <a:prstGeom prst="line">
            <a:avLst/>
          </a:prstGeom>
          <a:ln w="6350">
            <a:solidFill>
              <a:schemeClr val="tx1">
                <a:alpha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EF1B2ED2-FB70-1B2B-4A85-D921535E49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877409" y="2754593"/>
            <a:ext cx="861600" cy="0"/>
          </a:xfrm>
          <a:prstGeom prst="line">
            <a:avLst/>
          </a:prstGeom>
          <a:ln w="6350">
            <a:solidFill>
              <a:schemeClr val="tx1">
                <a:alpha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B323FD1D-9519-6A4E-5653-8170BE54F6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877409" y="2953021"/>
            <a:ext cx="861600" cy="0"/>
          </a:xfrm>
          <a:prstGeom prst="line">
            <a:avLst/>
          </a:prstGeom>
          <a:ln w="6350">
            <a:solidFill>
              <a:schemeClr val="tx1">
                <a:alpha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F6B4419B-F084-5588-E11B-9F0C9FC175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877409" y="3151447"/>
            <a:ext cx="861600" cy="0"/>
          </a:xfrm>
          <a:prstGeom prst="line">
            <a:avLst/>
          </a:prstGeom>
          <a:ln w="6350">
            <a:solidFill>
              <a:schemeClr val="tx1">
                <a:alpha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4" name="Rectangle: Rounded Corners 133">
            <a:extLst>
              <a:ext uri="{FF2B5EF4-FFF2-40B4-BE49-F238E27FC236}">
                <a16:creationId xmlns:a16="http://schemas.microsoft.com/office/drawing/2014/main" id="{88F4AAFE-1C8E-88E0-5A11-59292E3878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14165" y="3183019"/>
            <a:ext cx="165763" cy="165763"/>
          </a:xfrm>
          <a:prstGeom prst="roundRect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pic>
        <p:nvPicPr>
          <p:cNvPr id="135" name="Picture 134">
            <a:extLst>
              <a:ext uri="{FF2B5EF4-FFF2-40B4-BE49-F238E27FC236}">
                <a16:creationId xmlns:a16="http://schemas.microsoft.com/office/drawing/2014/main" id="{984C23DB-F3C3-8EAF-7D09-AA654E585F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372" y="3207023"/>
            <a:ext cx="215348" cy="121133"/>
          </a:xfrm>
          <a:prstGeom prst="rect">
            <a:avLst/>
          </a:prstGeom>
        </p:spPr>
      </p:pic>
      <p:pic>
        <p:nvPicPr>
          <p:cNvPr id="126" name="Picture 12">
            <a:extLst>
              <a:ext uri="{FF2B5EF4-FFF2-40B4-BE49-F238E27FC236}">
                <a16:creationId xmlns:a16="http://schemas.microsoft.com/office/drawing/2014/main" id="{D98E20D8-B43C-5C4C-A259-51E699DC1D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164" y="2372542"/>
            <a:ext cx="165763" cy="16576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12">
            <a:extLst>
              <a:ext uri="{FF2B5EF4-FFF2-40B4-BE49-F238E27FC236}">
                <a16:creationId xmlns:a16="http://schemas.microsoft.com/office/drawing/2014/main" id="{98DB4A45-8F02-5A4C-82F0-D487E429EF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164" y="2573268"/>
            <a:ext cx="165763" cy="16576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2AC57A17-DEB3-2CCE-F016-B08FEC6158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617389" y="2773994"/>
            <a:ext cx="159316" cy="169550"/>
          </a:xfrm>
          <a:prstGeom prst="roundRect">
            <a:avLst/>
          </a:prstGeom>
          <a:solidFill>
            <a:srgbClr val="BEDBE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pic>
        <p:nvPicPr>
          <p:cNvPr id="133" name="Graphic 132">
            <a:extLst>
              <a:ext uri="{FF2B5EF4-FFF2-40B4-BE49-F238E27FC236}">
                <a16:creationId xmlns:a16="http://schemas.microsoft.com/office/drawing/2014/main" id="{2E9EFE33-EBDA-5EBD-F46D-79142DCD3D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626127" y="2775941"/>
            <a:ext cx="141839" cy="141839"/>
          </a:xfrm>
          <a:prstGeom prst="rect">
            <a:avLst/>
          </a:prstGeom>
        </p:spPr>
      </p:pic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11F26EE4-B32D-F83F-50A4-9388373D44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617389" y="2978507"/>
            <a:ext cx="159316" cy="169550"/>
          </a:xfrm>
          <a:prstGeom prst="roundRect">
            <a:avLst/>
          </a:prstGeom>
          <a:solidFill>
            <a:srgbClr val="BEDBE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pic>
        <p:nvPicPr>
          <p:cNvPr id="131" name="Picture 130">
            <a:extLst>
              <a:ext uri="{FF2B5EF4-FFF2-40B4-BE49-F238E27FC236}">
                <a16:creationId xmlns:a16="http://schemas.microsoft.com/office/drawing/2014/main" id="{5F224259-14E7-43AA-830C-040E30F09A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0779" y="2999824"/>
            <a:ext cx="112537" cy="11976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3D94A12-594F-0382-FE43-2BCB1B93630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241936" y="3932495"/>
            <a:ext cx="2138962" cy="403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Connect your agents to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knowledge and applications</a:t>
            </a:r>
          </a:p>
        </p:txBody>
      </p:sp>
      <p:pic>
        <p:nvPicPr>
          <p:cNvPr id="105" name="Graphic 104" descr="Cloud image">
            <a:extLst>
              <a:ext uri="{FF2B5EF4-FFF2-40B4-BE49-F238E27FC236}">
                <a16:creationId xmlns:a16="http://schemas.microsoft.com/office/drawing/2014/main" id="{B704D528-39F6-89A0-99A0-349077FC487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289296" y="4172387"/>
            <a:ext cx="802485" cy="802485"/>
          </a:xfrm>
          <a:prstGeom prst="rect">
            <a:avLst/>
          </a:prstGeom>
          <a:effectLst/>
        </p:spPr>
      </p:pic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140D7176-F62D-405B-967F-7D20D9287D1E}"/>
              </a:ext>
            </a:extLst>
          </p:cNvPr>
          <p:cNvSpPr/>
          <p:nvPr/>
        </p:nvSpPr>
        <p:spPr>
          <a:xfrm>
            <a:off x="6309521" y="4424123"/>
            <a:ext cx="733957" cy="366683"/>
          </a:xfrm>
          <a:prstGeom prst="roundRect">
            <a:avLst>
              <a:gd name="adj" fmla="val 50000"/>
            </a:avLst>
          </a:prstGeom>
          <a:noFill/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Your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Data</a:t>
            </a:r>
          </a:p>
        </p:txBody>
      </p: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D11D6849-30EE-2FB0-867F-A6D72E856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102193" y="143328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F44A9E27-7562-3730-C8C3-1396C2808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02193" y="138114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8E5818BE-8E90-779C-C44A-8EA179BDD8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190432" y="143328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6F54BB0F-B268-CFFC-89BC-824208606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90432" y="138114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4F8DB15D-5087-5B17-EE07-E1329197E4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278673" y="1433283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DD082F4F-4704-7B09-422D-FE6AB16CC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278673" y="1381144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34EDA9C4-EC8A-73A8-E7A0-52E63899AD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366024" y="1433286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C3608124-5D04-06EB-E14F-4AAE838C40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366024" y="1381147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F4EDC2DF-BA9A-9A95-F177-99F19FFE99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454264" y="1433286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C18C275A-D10F-D5AF-F716-D74ACCC86F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454264" y="1381147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677DC64F-B591-3B72-5AD5-A29208BCBE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542505" y="1433286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6862932F-5EB1-D7CA-9BB7-CA082A3C6A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542505" y="1381147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AAAC30D-E9CF-EA7C-A757-E9502912B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6519497" y="4987686"/>
            <a:ext cx="600720" cy="0"/>
          </a:xfrm>
          <a:prstGeom prst="line">
            <a:avLst/>
          </a:prstGeom>
          <a:ln w="9525">
            <a:solidFill>
              <a:srgbClr val="0078D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 useBgFill="1">
        <p:nvSpPr>
          <p:cNvPr id="57" name="Oval 56">
            <a:extLst>
              <a:ext uri="{FF2B5EF4-FFF2-40B4-BE49-F238E27FC236}">
                <a16:creationId xmlns:a16="http://schemas.microsoft.com/office/drawing/2014/main" id="{AA47D691-203A-E81C-53BC-CBAE2765E0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678332" y="4839122"/>
            <a:ext cx="275702" cy="275702"/>
          </a:xfrm>
          <a:prstGeom prst="ellipse">
            <a:avLst/>
          </a:prstGeom>
          <a:ln w="9525" cap="flat" cmpd="sng" algn="ctr">
            <a:solidFill>
              <a:srgbClr val="0078D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Sans Display Semibold" pitchFamily="2" charset="0"/>
            </a:endParaRPr>
          </a:p>
        </p:txBody>
      </p:sp>
      <p:pic>
        <p:nvPicPr>
          <p:cNvPr id="58" name="Picture 6">
            <a:extLst>
              <a:ext uri="{FF2B5EF4-FFF2-40B4-BE49-F238E27FC236}">
                <a16:creationId xmlns:a16="http://schemas.microsoft.com/office/drawing/2014/main" id="{D8807796-043B-AA11-1248-FA66CBC20C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691" y="4892533"/>
            <a:ext cx="184985" cy="18498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06110508-6F39-96CF-86E1-1C0579CE8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090968" y="4741274"/>
            <a:ext cx="1176963" cy="460332"/>
          </a:xfrm>
          <a:prstGeom prst="roundRect">
            <a:avLst>
              <a:gd name="adj" fmla="val 11839"/>
            </a:avLst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Segoe Sans Display Semibold" pitchFamily="2" charset="0"/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FE8FDA7C-D587-FE57-3807-AF30E48EEB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54759" y="4760749"/>
            <a:ext cx="594106" cy="417925"/>
          </a:xfrm>
          <a:prstGeom prst="roundRect">
            <a:avLst>
              <a:gd name="adj" fmla="val 10286"/>
            </a:avLst>
          </a:prstGeom>
          <a:solidFill>
            <a:srgbClr val="194449">
              <a:alpha val="12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2A446F"/>
              </a:solidFill>
              <a:effectLst/>
              <a:uLnTx/>
              <a:uFillTx/>
              <a:latin typeface="Segoe Sans Display" pitchFamily="2" charset="0"/>
              <a:ea typeface="+mn-ea"/>
              <a:cs typeface="Segoe Sans Display" pitchFamily="2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2B9F632-2C1F-09C6-0187-D1AAD4637969}"/>
              </a:ext>
            </a:extLst>
          </p:cNvPr>
          <p:cNvSpPr txBox="1"/>
          <p:nvPr/>
        </p:nvSpPr>
        <p:spPr>
          <a:xfrm>
            <a:off x="7055775" y="4736246"/>
            <a:ext cx="74794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Data connectors</a:t>
            </a:r>
            <a:b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" pitchFamily="2" charset="0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xternal</a:t>
            </a:r>
            <a:b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ystems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43446B53-F5BE-354D-8351-F46B390736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906" y="4798126"/>
            <a:ext cx="161034" cy="16103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EFBAD082-A6F3-3E95-B338-0710CABA55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1445" y="4973000"/>
            <a:ext cx="167434" cy="16743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9C40498E-E974-7563-CEA9-DD7B8D4CD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5760" y="4789603"/>
            <a:ext cx="178081" cy="17808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65" name="Picture 9">
            <a:extLst>
              <a:ext uri="{FF2B5EF4-FFF2-40B4-BE49-F238E27FC236}">
                <a16:creationId xmlns:a16="http://schemas.microsoft.com/office/drawing/2014/main" id="{FBCA56DE-5FBA-57C6-F765-FE44186D6B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585" y="4806858"/>
            <a:ext cx="143569" cy="14356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10">
            <a:extLst>
              <a:ext uri="{FF2B5EF4-FFF2-40B4-BE49-F238E27FC236}">
                <a16:creationId xmlns:a16="http://schemas.microsoft.com/office/drawing/2014/main" id="{1E61A1FD-5DF2-2F34-ABEA-CA25AB3E14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310" y="5000964"/>
            <a:ext cx="225402" cy="11150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" name="Oval 116">
            <a:extLst>
              <a:ext uri="{FF2B5EF4-FFF2-40B4-BE49-F238E27FC236}">
                <a16:creationId xmlns:a16="http://schemas.microsoft.com/office/drawing/2014/main" id="{EEF5259C-3DD2-9FDB-8DC5-9FFA8E3CB7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587014" y="2334181"/>
            <a:ext cx="70689" cy="70689"/>
          </a:xfrm>
          <a:prstGeom prst="ellipse">
            <a:avLst/>
          </a:prstGeom>
          <a:solidFill>
            <a:srgbClr val="B1B3B3">
              <a:alpha val="50000"/>
            </a:srgb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CAD99C07-965C-1814-AFE1-EDAD8AD797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696884" y="2334181"/>
            <a:ext cx="70689" cy="70689"/>
          </a:xfrm>
          <a:prstGeom prst="ellipse">
            <a:avLst/>
          </a:prstGeom>
          <a:solidFill>
            <a:srgbClr val="B1B3B3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A60DF73-3D37-F5DF-7888-70E0E8434A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6519504" y="5556832"/>
            <a:ext cx="603219" cy="0"/>
          </a:xfrm>
          <a:prstGeom prst="line">
            <a:avLst/>
          </a:prstGeom>
          <a:ln w="9525">
            <a:solidFill>
              <a:srgbClr val="0078D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976363DC-8E63-0AE4-008F-7DE65D6932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092105" y="5329121"/>
            <a:ext cx="1176964" cy="460331"/>
          </a:xfrm>
          <a:prstGeom prst="roundRect">
            <a:avLst>
              <a:gd name="adj" fmla="val 11839"/>
            </a:avLst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Segoe Sans Display Semibold" pitchFamily="2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9B0BBD84-AD65-1924-E999-C637AA261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55896" y="5348596"/>
            <a:ext cx="594106" cy="417924"/>
          </a:xfrm>
          <a:prstGeom prst="roundRect">
            <a:avLst>
              <a:gd name="adj" fmla="val 10286"/>
            </a:avLst>
          </a:prstGeom>
          <a:solidFill>
            <a:srgbClr val="194449">
              <a:alpha val="12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2A446F"/>
              </a:solidFill>
              <a:effectLst/>
              <a:uLnTx/>
              <a:uFillTx/>
              <a:latin typeface="Segoe Sans Display" pitchFamily="2" charset="0"/>
              <a:ea typeface="+mn-ea"/>
              <a:cs typeface="Segoe Sans Display" pitchFamily="2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1C69782-FBE2-0BD7-5A1A-3A3F2D8F5F68}"/>
              </a:ext>
            </a:extLst>
          </p:cNvPr>
          <p:cNvSpPr txBox="1"/>
          <p:nvPr/>
        </p:nvSpPr>
        <p:spPr>
          <a:xfrm>
            <a:off x="7061315" y="5328118"/>
            <a:ext cx="619010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Microsoft Graph</a:t>
            </a:r>
            <a:b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" pitchFamily="2" charset="0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ductivity data (M365)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2D504634-809F-1CAF-7309-10EFE88BED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2270" y="5380204"/>
            <a:ext cx="179243" cy="17924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7442132-0C2C-719B-334A-7B9A914792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8171" y="5380204"/>
            <a:ext cx="179243" cy="17924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950AFD7B-52C8-5766-43AA-0946CBA6F9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371" y="5378346"/>
            <a:ext cx="182959" cy="18296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CAC272A1-336F-A121-6B49-2272E1857E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272" y="5572907"/>
            <a:ext cx="179886" cy="17988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7F26E7B5-463F-7A07-4C4C-823334363C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2014" y="5572907"/>
            <a:ext cx="179886" cy="1798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sp useBgFill="1">
        <p:nvSpPr>
          <p:cNvPr id="55" name="Oval 54">
            <a:extLst>
              <a:ext uri="{FF2B5EF4-FFF2-40B4-BE49-F238E27FC236}">
                <a16:creationId xmlns:a16="http://schemas.microsoft.com/office/drawing/2014/main" id="{C58B67E3-C8B5-496D-12E5-D419FDAC3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678332" y="5417051"/>
            <a:ext cx="275702" cy="275702"/>
          </a:xfrm>
          <a:prstGeom prst="ellipse">
            <a:avLst/>
          </a:prstGeom>
          <a:ln w="9525" cap="flat" cmpd="sng" algn="ctr">
            <a:solidFill>
              <a:srgbClr val="0078D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Sans Display Semibold" pitchFamily="2" charset="0"/>
            </a:endParaRPr>
          </a:p>
        </p:txBody>
      </p:sp>
      <p:pic>
        <p:nvPicPr>
          <p:cNvPr id="56" name="Picture 5">
            <a:extLst>
              <a:ext uri="{FF2B5EF4-FFF2-40B4-BE49-F238E27FC236}">
                <a16:creationId xmlns:a16="http://schemas.microsoft.com/office/drawing/2014/main" id="{86653857-1494-AD7F-5292-189B3D0A56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7377" y="5463677"/>
            <a:ext cx="197612" cy="1824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3D8A2B0-CA40-B031-DCEF-097D5E93FC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6519497" y="6134090"/>
            <a:ext cx="600720" cy="0"/>
          </a:xfrm>
          <a:prstGeom prst="line">
            <a:avLst/>
          </a:prstGeom>
          <a:ln w="9525">
            <a:solidFill>
              <a:srgbClr val="0078D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3E6E1F8B-512D-708D-11D3-286396D00C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678332" y="6005408"/>
            <a:ext cx="275702" cy="275702"/>
          </a:xfrm>
          <a:prstGeom prst="ellipse">
            <a:avLst/>
          </a:prstGeom>
          <a:solidFill>
            <a:srgbClr val="F5F5F4"/>
          </a:solidFill>
          <a:ln w="9525" cap="flat" cmpd="sng" algn="ctr">
            <a:solidFill>
              <a:srgbClr val="0078D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Sans Display Semibold" pitchFamily="2" charset="0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6B10339C-A54E-FC30-DAAE-2CADA5EBE9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487" y="6032699"/>
            <a:ext cx="221669" cy="22166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F6A9C44-00CF-C443-218A-564E6FF4CD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089911" y="5904370"/>
            <a:ext cx="1176964" cy="460332"/>
          </a:xfrm>
          <a:prstGeom prst="roundRect">
            <a:avLst>
              <a:gd name="adj" fmla="val 11839"/>
            </a:avLst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Segoe Sans Display Semibold" pitchFamily="2" charset="0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6628B2B2-CD15-5B52-1042-AFDD3B358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52696" y="5923845"/>
            <a:ext cx="594348" cy="417926"/>
          </a:xfrm>
          <a:prstGeom prst="roundRect">
            <a:avLst>
              <a:gd name="adj" fmla="val 9563"/>
            </a:avLst>
          </a:prstGeom>
          <a:solidFill>
            <a:srgbClr val="194449">
              <a:alpha val="12000"/>
            </a:srgbClr>
          </a:solidFill>
          <a:ln w="3175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2A446F"/>
              </a:solidFill>
              <a:effectLst/>
              <a:uLnTx/>
              <a:uFillTx/>
              <a:latin typeface="Segoe Sans Display" pitchFamily="2" charset="0"/>
              <a:ea typeface="+mn-ea"/>
              <a:cs typeface="Segoe Sans Display" pitchFamily="2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D54D230-75DE-B29D-4174-CA6B5CB9DBD1}"/>
              </a:ext>
            </a:extLst>
          </p:cNvPr>
          <p:cNvSpPr txBox="1"/>
          <p:nvPr/>
        </p:nvSpPr>
        <p:spPr>
          <a:xfrm>
            <a:off x="7059120" y="5952910"/>
            <a:ext cx="737507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Microsoft Dataverse</a:t>
            </a:r>
            <a:b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" pitchFamily="2" charset="0"/>
              </a:rPr>
            </a:b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siness data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CFACA39D-DE68-22BA-4A69-CE5E1FCC5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300" y="6072398"/>
            <a:ext cx="125016" cy="12501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25861211-293F-4D0D-3770-2E994B1148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317" y="6056091"/>
            <a:ext cx="280650" cy="1576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374EEF36-09FC-FDC6-59DF-6FFFBE917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3084" y="6069066"/>
            <a:ext cx="131679" cy="13167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EEA98E0F-A7C3-7BE1-31BA-F83D33A8B6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rot="16200000" flipH="1">
            <a:off x="5829012" y="5450291"/>
            <a:ext cx="1371803" cy="3"/>
          </a:xfrm>
          <a:prstGeom prst="bentConnector3">
            <a:avLst>
              <a:gd name="adj1" fmla="val 50000"/>
            </a:avLst>
          </a:prstGeom>
          <a:ln w="9525">
            <a:solidFill>
              <a:srgbClr val="0078D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A4333646-9390-27C4-1931-6E84FE8A11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630746" y="1433286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3249E402-191D-A687-0A99-A0BB9733C6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630746" y="1381147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F89C83FB-E399-D521-FE3C-71C63E2DF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718985" y="1433286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5551C885-FB3D-BDE9-C1AC-ECBC40DB0F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718985" y="1381147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0F30FA05-72CC-7E85-4C8E-AA3BD30D8A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807226" y="1433288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3D459603-8CB9-6E1B-2A5C-96A4A74080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807226" y="1381149"/>
            <a:ext cx="42171" cy="52139"/>
          </a:xfrm>
          <a:prstGeom prst="line">
            <a:avLst/>
          </a:prstGeom>
          <a:ln w="15875" cap="rnd">
            <a:solidFill>
              <a:srgbClr val="BCBCBC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FC3B1D26-6905-FD4E-14B0-C8F8A73C645B}"/>
              </a:ext>
            </a:extLst>
          </p:cNvPr>
          <p:cNvSpPr/>
          <p:nvPr/>
        </p:nvSpPr>
        <p:spPr>
          <a:xfrm>
            <a:off x="8931427" y="1262567"/>
            <a:ext cx="1444389" cy="337578"/>
          </a:xfrm>
          <a:prstGeom prst="roundRect">
            <a:avLst>
              <a:gd name="adj" fmla="val 50000"/>
            </a:avLst>
          </a:prstGeom>
          <a:solidFill>
            <a:srgbClr val="6B58AE"/>
          </a:solidFill>
        </p:spPr>
        <p:txBody>
          <a:bodyPr wrap="square" lIns="91440" tIns="18288" rIns="91440" bIns="36576" rtlCol="0" anchor="ctr" anchorCtr="0">
            <a:noAutofit/>
          </a:bodyPr>
          <a:lstStyle/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158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" pitchFamily="34" charset="0"/>
              </a:rPr>
              <a:t>4 - Outcom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E8FAFBC-1670-7695-6445-CE706F59A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 rot="16200000" flipH="1">
            <a:off x="8577902" y="1762967"/>
            <a:ext cx="2197415" cy="2148424"/>
          </a:xfrm>
          <a:prstGeom prst="roundRect">
            <a:avLst>
              <a:gd name="adj" fmla="val 9934"/>
            </a:avLst>
          </a:prstGeom>
          <a:solidFill>
            <a:srgbClr val="194449">
              <a:alpha val="5000"/>
            </a:srgbClr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E24D0422-CF18-F62F-E21B-BA585159F2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V="1">
            <a:off x="8596659" y="3910191"/>
            <a:ext cx="2146695" cy="1355290"/>
          </a:xfrm>
          <a:prstGeom prst="round2SameRect">
            <a:avLst>
              <a:gd name="adj1" fmla="val 10057"/>
              <a:gd name="adj2" fmla="val 0"/>
            </a:avLst>
          </a:prstGeom>
          <a:solidFill>
            <a:srgbClr val="194449">
              <a:alpha val="5000"/>
            </a:srgbClr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DEF6D100-0575-4D4B-0863-9C7BF8537826}"/>
              </a:ext>
            </a:extLst>
          </p:cNvPr>
          <p:cNvSpPr/>
          <p:nvPr/>
        </p:nvSpPr>
        <p:spPr>
          <a:xfrm>
            <a:off x="8600875" y="1730491"/>
            <a:ext cx="2148426" cy="403839"/>
          </a:xfrm>
          <a:prstGeom prst="round2SameRect">
            <a:avLst>
              <a:gd name="adj1" fmla="val 44181"/>
              <a:gd name="adj2" fmla="val 0"/>
            </a:avLst>
          </a:prstGeom>
          <a:solidFill>
            <a:srgbClr val="C0CBCC"/>
          </a:solidFill>
          <a:ln w="9525" cap="flat" cmpd="sng" algn="ctr">
            <a:noFill/>
            <a:prstDash val="solid"/>
          </a:ln>
          <a:effectLst/>
        </p:spPr>
        <p:txBody>
          <a:bodyPr bIns="91440" rtlCol="0" anchor="ctr"/>
          <a:lstStyle/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371655" algn="l"/>
              </a:tabLst>
              <a:defRPr/>
            </a:pPr>
            <a:r>
              <a:rPr kumimoji="0" lang="en-US" sz="9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gent generates</a:t>
            </a:r>
            <a:br>
              <a:rPr kumimoji="0" lang="en-US" sz="9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 response</a:t>
            </a:r>
          </a:p>
        </p:txBody>
      </p:sp>
      <p:sp>
        <p:nvSpPr>
          <p:cNvPr id="146" name="Title 1">
            <a:extLst>
              <a:ext uri="{FF2B5EF4-FFF2-40B4-BE49-F238E27FC236}">
                <a16:creationId xmlns:a16="http://schemas.microsoft.com/office/drawing/2014/main" id="{31D238E6-FF74-9DBF-5667-63D8E3ACD8AF}"/>
              </a:ext>
            </a:extLst>
          </p:cNvPr>
          <p:cNvSpPr txBox="1">
            <a:spLocks/>
          </p:cNvSpPr>
          <p:nvPr/>
        </p:nvSpPr>
        <p:spPr>
          <a:xfrm>
            <a:off x="9028071" y="2283796"/>
            <a:ext cx="1440606" cy="11123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24024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9272" b="0" kern="1200" cap="none" spc="-12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4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Agent</a:t>
            </a:r>
          </a:p>
        </p:txBody>
      </p:sp>
      <p:sp>
        <p:nvSpPr>
          <p:cNvPr id="143" name="Rectangle: Rounded Corners 6">
            <a:extLst>
              <a:ext uri="{FF2B5EF4-FFF2-40B4-BE49-F238E27FC236}">
                <a16:creationId xmlns:a16="http://schemas.microsoft.com/office/drawing/2014/main" id="{FFE38627-AB39-F770-EF6C-ED54D16670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990509" y="2461487"/>
            <a:ext cx="1618305" cy="1018826"/>
          </a:xfrm>
          <a:prstGeom prst="roundRect">
            <a:avLst>
              <a:gd name="adj" fmla="val 8462"/>
            </a:avLst>
          </a:prstGeom>
          <a:solidFill>
            <a:srgbClr val="F5F5F4"/>
          </a:solidFill>
          <a:ln w="9525" cap="flat" cmpd="sng" algn="ctr">
            <a:solidFill>
              <a:schemeClr val="tx1">
                <a:alpha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pic>
        <p:nvPicPr>
          <p:cNvPr id="150" name="Graphic 149">
            <a:extLst>
              <a:ext uri="{FF2B5EF4-FFF2-40B4-BE49-F238E27FC236}">
                <a16:creationId xmlns:a16="http://schemas.microsoft.com/office/drawing/2014/main" id="{080B34A4-188A-08D0-D8FE-3142D03E7A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314379" y="3246253"/>
            <a:ext cx="97912" cy="138181"/>
          </a:xfrm>
          <a:prstGeom prst="rect">
            <a:avLst/>
          </a:prstGeom>
        </p:spPr>
      </p:pic>
      <p:pic>
        <p:nvPicPr>
          <p:cNvPr id="151" name="Graphic 150">
            <a:extLst>
              <a:ext uri="{FF2B5EF4-FFF2-40B4-BE49-F238E27FC236}">
                <a16:creationId xmlns:a16="http://schemas.microsoft.com/office/drawing/2014/main" id="{EA6E3318-E85E-84D1-4A1D-07EEB13E9E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0372097" y="3256334"/>
            <a:ext cx="117491" cy="138179"/>
          </a:xfrm>
          <a:prstGeom prst="rect">
            <a:avLst/>
          </a:prstGeom>
        </p:spPr>
      </p:pic>
      <p:pic>
        <p:nvPicPr>
          <p:cNvPr id="152" name="Graphic 151">
            <a:extLst>
              <a:ext uri="{FF2B5EF4-FFF2-40B4-BE49-F238E27FC236}">
                <a16:creationId xmlns:a16="http://schemas.microsoft.com/office/drawing/2014/main" id="{7E7BDF68-0F5B-8612-BFB7-3ACFDBBEE1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9090449" y="3260143"/>
            <a:ext cx="97912" cy="115151"/>
          </a:xfrm>
          <a:prstGeom prst="rect">
            <a:avLst/>
          </a:prstGeom>
        </p:spPr>
      </p:pic>
      <p:sp>
        <p:nvSpPr>
          <p:cNvPr id="147" name="Title 1">
            <a:extLst>
              <a:ext uri="{FF2B5EF4-FFF2-40B4-BE49-F238E27FC236}">
                <a16:creationId xmlns:a16="http://schemas.microsoft.com/office/drawing/2014/main" id="{8CAE556A-0AA8-1B4B-4B08-EE33D38AA64C}"/>
              </a:ext>
            </a:extLst>
          </p:cNvPr>
          <p:cNvSpPr txBox="1">
            <a:spLocks/>
          </p:cNvSpPr>
          <p:nvPr/>
        </p:nvSpPr>
        <p:spPr>
          <a:xfrm>
            <a:off x="9107721" y="2539878"/>
            <a:ext cx="1383879" cy="55618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24024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9272" b="0" kern="1200" cap="none" spc="-12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4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Hi there! The Refund agent needs your approval on a replacement request over £200:</a:t>
            </a:r>
          </a:p>
        </p:txBody>
      </p:sp>
      <p:pic>
        <p:nvPicPr>
          <p:cNvPr id="149" name="Graphic 148">
            <a:extLst>
              <a:ext uri="{FF2B5EF4-FFF2-40B4-BE49-F238E27FC236}">
                <a16:creationId xmlns:a16="http://schemas.microsoft.com/office/drawing/2014/main" id="{110F6463-8832-D37E-FE4B-0C34F76853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 flipH="1">
            <a:off x="8802028" y="2298919"/>
            <a:ext cx="73579" cy="73579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C49C7383-A042-E75F-35C5-6E741B762D55}"/>
              </a:ext>
            </a:extLst>
          </p:cNvPr>
          <p:cNvSpPr/>
          <p:nvPr/>
        </p:nvSpPr>
        <p:spPr>
          <a:xfrm>
            <a:off x="8600875" y="3930366"/>
            <a:ext cx="2137772" cy="403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Deploy agents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Sans Display Semibold" pitchFamily="2" charset="0"/>
              </a:rPr>
              <a:t>to your channels</a:t>
            </a:r>
          </a:p>
        </p:txBody>
      </p:sp>
      <p:sp useBgFill="1">
        <p:nvSpPr>
          <p:cNvPr id="78" name="Rectangle: Rounded Corners 77">
            <a:extLst>
              <a:ext uri="{FF2B5EF4-FFF2-40B4-BE49-F238E27FC236}">
                <a16:creationId xmlns:a16="http://schemas.microsoft.com/office/drawing/2014/main" id="{1209FFDD-9AC3-C97E-1066-96E07CCE1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683141" y="4386027"/>
            <a:ext cx="346095" cy="346095"/>
          </a:xfrm>
          <a:prstGeom prst="roundRect">
            <a:avLst/>
          </a:prstGeom>
          <a:ln w="6350"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</p:txBody>
      </p:sp>
      <p:sp useBgFill="1">
        <p:nvSpPr>
          <p:cNvPr id="79" name="Rectangle: Rounded Corners 78">
            <a:extLst>
              <a:ext uri="{FF2B5EF4-FFF2-40B4-BE49-F238E27FC236}">
                <a16:creationId xmlns:a16="http://schemas.microsoft.com/office/drawing/2014/main" id="{A3D5767F-08C9-AD9D-0C3F-30B93FC23A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090776" y="4386027"/>
            <a:ext cx="346095" cy="346095"/>
          </a:xfrm>
          <a:prstGeom prst="roundRect">
            <a:avLst/>
          </a:prstGeom>
          <a:ln w="6350"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</p:txBody>
      </p:sp>
      <p:sp useBgFill="1">
        <p:nvSpPr>
          <p:cNvPr id="80" name="Rectangle: Rounded Corners 79">
            <a:extLst>
              <a:ext uri="{FF2B5EF4-FFF2-40B4-BE49-F238E27FC236}">
                <a16:creationId xmlns:a16="http://schemas.microsoft.com/office/drawing/2014/main" id="{3C70A333-BB6D-BBA5-39E6-149158B39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498414" y="4386027"/>
            <a:ext cx="346095" cy="346095"/>
          </a:xfrm>
          <a:prstGeom prst="roundRect">
            <a:avLst/>
          </a:prstGeom>
          <a:ln w="6350"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</p:txBody>
      </p:sp>
      <p:sp useBgFill="1">
        <p:nvSpPr>
          <p:cNvPr id="81" name="Rectangle: Rounded Corners 80">
            <a:extLst>
              <a:ext uri="{FF2B5EF4-FFF2-40B4-BE49-F238E27FC236}">
                <a16:creationId xmlns:a16="http://schemas.microsoft.com/office/drawing/2014/main" id="{B64D41A8-47FE-6F9F-08C4-234AC7D921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06048" y="4386027"/>
            <a:ext cx="346095" cy="346095"/>
          </a:xfrm>
          <a:prstGeom prst="roundRect">
            <a:avLst/>
          </a:prstGeom>
          <a:ln w="6350"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</p:txBody>
      </p:sp>
      <p:sp useBgFill="1">
        <p:nvSpPr>
          <p:cNvPr id="82" name="Rectangle: Rounded Corners 81">
            <a:extLst>
              <a:ext uri="{FF2B5EF4-FFF2-40B4-BE49-F238E27FC236}">
                <a16:creationId xmlns:a16="http://schemas.microsoft.com/office/drawing/2014/main" id="{49E59C4B-D0ED-6943-2C59-6AE0E61C0D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313681" y="4386027"/>
            <a:ext cx="346095" cy="346095"/>
          </a:xfrm>
          <a:prstGeom prst="roundRect">
            <a:avLst/>
          </a:prstGeom>
          <a:ln w="6350"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2ACAF318-1C08-F8FF-50F3-962BD0B954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090776" y="4789050"/>
            <a:ext cx="346095" cy="346095"/>
          </a:xfrm>
          <a:prstGeom prst="roundRect">
            <a:avLst/>
          </a:prstGeom>
          <a:solidFill>
            <a:srgbClr val="F5F5F4"/>
          </a:solidFill>
          <a:ln w="6350"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6665CC62-1D5B-B600-1285-3FAAB80EA1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498414" y="4789050"/>
            <a:ext cx="346095" cy="346095"/>
          </a:xfrm>
          <a:prstGeom prst="roundRect">
            <a:avLst/>
          </a:prstGeom>
          <a:solidFill>
            <a:srgbClr val="F5F5F4"/>
          </a:solidFill>
          <a:ln w="6350"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4FD85E76-25B9-013F-F158-BC5A06B6C1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06048" y="4789050"/>
            <a:ext cx="346095" cy="346095"/>
          </a:xfrm>
          <a:prstGeom prst="roundRect">
            <a:avLst/>
          </a:prstGeom>
          <a:solidFill>
            <a:srgbClr val="F5F5F4"/>
          </a:solidFill>
          <a:ln w="6350"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2ECE5572-423C-68BB-3C6E-FBEF452D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683141" y="4789050"/>
            <a:ext cx="346095" cy="346095"/>
          </a:xfrm>
          <a:prstGeom prst="roundRect">
            <a:avLst/>
          </a:prstGeom>
          <a:solidFill>
            <a:srgbClr val="F5F5F4"/>
          </a:solidFill>
          <a:ln w="6350">
            <a:solidFill>
              <a:srgbClr val="0078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Sans Display" pitchFamily="2" charset="0"/>
            </a:endParaRPr>
          </a:p>
        </p:txBody>
      </p:sp>
      <p:pic>
        <p:nvPicPr>
          <p:cNvPr id="88" name="Picture 87" descr="Copilot">
            <a:extLst>
              <a:ext uri="{FF2B5EF4-FFF2-40B4-BE49-F238E27FC236}">
                <a16:creationId xmlns:a16="http://schemas.microsoft.com/office/drawing/2014/main" id="{EEC03E77-18CE-B7B2-3FDC-4031652D2C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1993" y="4468659"/>
            <a:ext cx="344806" cy="19395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89" name="Picture 88" descr="Facebook">
            <a:extLst>
              <a:ext uri="{FF2B5EF4-FFF2-40B4-BE49-F238E27FC236}">
                <a16:creationId xmlns:a16="http://schemas.microsoft.com/office/drawing/2014/main" id="{78C086E3-F554-EE0D-73F6-07BB4CC116B5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874" y="4450540"/>
            <a:ext cx="226054" cy="22605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90" name="Picture 89" descr="Slack">
            <a:extLst>
              <a:ext uri="{FF2B5EF4-FFF2-40B4-BE49-F238E27FC236}">
                <a16:creationId xmlns:a16="http://schemas.microsoft.com/office/drawing/2014/main" id="{F5FEFACD-1D46-EC7C-32CB-16F067642DD5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0197" y="4440972"/>
            <a:ext cx="227194" cy="22719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91" name="Picture 90" descr="Apple">
            <a:extLst>
              <a:ext uri="{FF2B5EF4-FFF2-40B4-BE49-F238E27FC236}">
                <a16:creationId xmlns:a16="http://schemas.microsoft.com/office/drawing/2014/main" id="{3BF78081-F9A7-20CF-27B0-22B02C44A4B0}"/>
              </a:ext>
            </a:extLst>
          </p:cNvPr>
          <p:cNvPicPr>
            <a:picLocks noChangeAspect="1"/>
          </p:cNvPicPr>
          <p:nvPr/>
        </p:nvPicPr>
        <p:blipFill>
          <a:blip r:embed="rId4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4323" y="4439228"/>
            <a:ext cx="249558" cy="24934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BF04FC1F-7FDE-9B68-1B9E-A50AD709CCF6}"/>
              </a:ext>
            </a:extLst>
          </p:cNvPr>
          <p:cNvSpPr txBox="1"/>
          <p:nvPr/>
        </p:nvSpPr>
        <p:spPr>
          <a:xfrm>
            <a:off x="10190466" y="4259726"/>
            <a:ext cx="74899" cy="317073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9538C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rPr>
              <a:t>*</a:t>
            </a:r>
          </a:p>
        </p:txBody>
      </p:sp>
      <p:pic>
        <p:nvPicPr>
          <p:cNvPr id="92" name="Picture 91" descr="Google">
            <a:extLst>
              <a:ext uri="{FF2B5EF4-FFF2-40B4-BE49-F238E27FC236}">
                <a16:creationId xmlns:a16="http://schemas.microsoft.com/office/drawing/2014/main" id="{69C2D444-3982-D8A4-8E20-A50333993A3F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6422" y="4441013"/>
            <a:ext cx="222570" cy="2271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9653C066-FD8E-005D-79BE-52511E6CE3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597287" y="4259726"/>
            <a:ext cx="74899" cy="317073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9538C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rPr>
              <a:t>*</a:t>
            </a:r>
          </a:p>
        </p:txBody>
      </p:sp>
      <p:pic>
        <p:nvPicPr>
          <p:cNvPr id="93" name="Picture 92" descr="WhatsApp">
            <a:extLst>
              <a:ext uri="{FF2B5EF4-FFF2-40B4-BE49-F238E27FC236}">
                <a16:creationId xmlns:a16="http://schemas.microsoft.com/office/drawing/2014/main" id="{9971E7E6-15F4-5B62-1D1B-8FA5303BF092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0202" y="4826992"/>
            <a:ext cx="268846" cy="26966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C93128A1-23E5-1AF0-A3C7-1BBD72A80B4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9783226" y="4663721"/>
            <a:ext cx="74899" cy="317073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9538C"/>
                </a:solidFill>
                <a:effectLst/>
                <a:uLnTx/>
                <a:uFillTx/>
                <a:latin typeface="Segoe UI Variable Display Semib" pitchFamily="2" charset="0"/>
                <a:ea typeface="+mn-ea"/>
                <a:cs typeface="+mn-cs"/>
              </a:rPr>
              <a:t>*</a:t>
            </a:r>
          </a:p>
        </p:txBody>
      </p:sp>
      <p:pic>
        <p:nvPicPr>
          <p:cNvPr id="94" name="Graphic 93" descr="Internet">
            <a:extLst>
              <a:ext uri="{FF2B5EF4-FFF2-40B4-BE49-F238E27FC236}">
                <a16:creationId xmlns:a16="http://schemas.microsoft.com/office/drawing/2014/main" id="{CBF13EFC-6AC0-72D4-0263-765043FA8E15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8723066" y="4828503"/>
            <a:ext cx="272456" cy="272456"/>
          </a:xfrm>
          <a:prstGeom prst="rect">
            <a:avLst/>
          </a:prstGeom>
          <a:effectLst/>
        </p:spPr>
      </p:pic>
      <p:pic>
        <p:nvPicPr>
          <p:cNvPr id="95" name="Graphic 94" descr="Phone">
            <a:extLst>
              <a:ext uri="{FF2B5EF4-FFF2-40B4-BE49-F238E27FC236}">
                <a16:creationId xmlns:a16="http://schemas.microsoft.com/office/drawing/2014/main" id="{0B096AB5-7F9C-2734-ABE5-C580AF49A3CB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9137476" y="4832799"/>
            <a:ext cx="254818" cy="254818"/>
          </a:xfrm>
          <a:prstGeom prst="rect">
            <a:avLst/>
          </a:prstGeom>
          <a:effectLst/>
        </p:spPr>
      </p:pic>
      <p:pic>
        <p:nvPicPr>
          <p:cNvPr id="96" name="Picture 95" descr="Twilio">
            <a:extLst>
              <a:ext uri="{FF2B5EF4-FFF2-40B4-BE49-F238E27FC236}">
                <a16:creationId xmlns:a16="http://schemas.microsoft.com/office/drawing/2014/main" id="{7B66BC70-1FC4-1180-5ADF-0B71D1FCDEAA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955"/>
          <a:stretch/>
        </p:blipFill>
        <p:spPr>
          <a:xfrm>
            <a:off x="9963711" y="4856359"/>
            <a:ext cx="230778" cy="23885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</p:pic>
      <p:pic>
        <p:nvPicPr>
          <p:cNvPr id="87" name="Graphic 86" descr="And more">
            <a:extLst>
              <a:ext uri="{FF2B5EF4-FFF2-40B4-BE49-F238E27FC236}">
                <a16:creationId xmlns:a16="http://schemas.microsoft.com/office/drawing/2014/main" id="{26AA7670-880E-6219-0643-18F3FFB8E7A3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0354751" y="4824979"/>
            <a:ext cx="279496" cy="279496"/>
          </a:xfrm>
          <a:prstGeom prst="rect">
            <a:avLst/>
          </a:prstGeom>
          <a:effectLst/>
        </p:spPr>
      </p:pic>
      <p:sp>
        <p:nvSpPr>
          <p:cNvPr id="97" name="Oval 96">
            <a:extLst>
              <a:ext uri="{FF2B5EF4-FFF2-40B4-BE49-F238E27FC236}">
                <a16:creationId xmlns:a16="http://schemas.microsoft.com/office/drawing/2014/main" id="{EB401274-943E-51AF-35D8-3B4976C2D1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74341" y="4355208"/>
            <a:ext cx="107149" cy="107149"/>
          </a:xfrm>
          <a:prstGeom prst="ellipse">
            <a:avLst/>
          </a:prstGeom>
          <a:solidFill>
            <a:srgbClr val="DEEBF5"/>
          </a:solidFill>
          <a:ln w="158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51F1215A-653F-062E-5B7D-6B7FD7E793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581162" y="4355208"/>
            <a:ext cx="107149" cy="107149"/>
          </a:xfrm>
          <a:prstGeom prst="ellipse">
            <a:avLst/>
          </a:prstGeom>
          <a:solidFill>
            <a:srgbClr val="DEEBF5"/>
          </a:solidFill>
          <a:ln w="158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50203060-3154-CCCB-0257-E34906B0DA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767101" y="4759203"/>
            <a:ext cx="107149" cy="107149"/>
          </a:xfrm>
          <a:prstGeom prst="ellipse">
            <a:avLst/>
          </a:prstGeom>
          <a:solidFill>
            <a:srgbClr val="DEEBF5"/>
          </a:solidFill>
          <a:ln w="158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pic>
        <p:nvPicPr>
          <p:cNvPr id="148" name="Picture 147">
            <a:extLst>
              <a:ext uri="{FF2B5EF4-FFF2-40B4-BE49-F238E27FC236}">
                <a16:creationId xmlns:a16="http://schemas.microsoft.com/office/drawing/2014/main" id="{47F447EC-3743-F868-8CAC-4544C9F037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9067" y="2236212"/>
            <a:ext cx="201557" cy="201557"/>
          </a:xfrm>
          <a:prstGeom prst="rect">
            <a:avLst/>
          </a:prstGeom>
          <a:effectLst/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5FB4CAA-CB21-043B-0E9F-02387C2C83A0}"/>
              </a:ext>
            </a:extLst>
          </p:cNvPr>
          <p:cNvSpPr txBox="1"/>
          <p:nvPr/>
        </p:nvSpPr>
        <p:spPr>
          <a:xfrm>
            <a:off x="8355048" y="5360883"/>
            <a:ext cx="265860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Sans Display" pitchFamily="2" charset="0"/>
              </a:rPr>
              <a:t>* Access this channel by connecting to an ISV</a:t>
            </a:r>
          </a:p>
        </p:txBody>
      </p:sp>
    </p:spTree>
    <p:extLst>
      <p:ext uri="{BB962C8B-B14F-4D97-AF65-F5344CB8AC3E}">
        <p14:creationId xmlns:p14="http://schemas.microsoft.com/office/powerpoint/2010/main" val="20710965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2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2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2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2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2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2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2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2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2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2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2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2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2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2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2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2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2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2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2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2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2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2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2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2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2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2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2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2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2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0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3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2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2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8" dur="2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1" dur="2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4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2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2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2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6" dur="2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9" dur="2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2" dur="2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5" dur="2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8" dur="2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1" dur="2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4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7" dur="2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0" dur="2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3" dur="2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6" dur="2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9" dur="2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2" dur="2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5" dur="2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8" dur="2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1" dur="2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4" dur="2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7" dur="2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0" dur="2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3" dur="2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6" dur="2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9" dur="2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2" dur="2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5" dur="2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8" dur="2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1" dur="2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4" dur="2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7" dur="2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0" dur="2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3" dur="2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6" dur="2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9" dur="2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2" dur="2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5" dur="2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8" dur="2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1" dur="2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4" dur="2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7" dur="2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0" dur="2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3" dur="2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6" dur="2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9" dur="2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2" dur="2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5" dur="2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8" dur="2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1" dur="2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4" dur="2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7" dur="2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0" dur="2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3" dur="2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6" dur="2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9" dur="2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2" dur="2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5" dur="2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8" dur="2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1" dur="2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4" dur="2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7" dur="2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0" dur="2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3" dur="2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6" dur="2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9" dur="2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2" dur="2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5" dur="2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8" dur="2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1" dur="2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4" dur="2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7" dur="2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0" dur="2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3" dur="2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6" dur="2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9" dur="2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2" dur="2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5" dur="2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8" dur="2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1" dur="2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4" dur="2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7" dur="2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0" dur="2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3" dur="2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6" dur="2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9" dur="2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2" dur="2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5" dur="2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8" dur="2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1" dur="2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4" dur="2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7" dur="2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0" dur="2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3" dur="2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6" dur="2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9" dur="2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2" dur="2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5" dur="2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8" dur="2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1" dur="2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4" dur="2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7" dur="2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0" dur="2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3" dur="2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6" dur="2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9" dur="2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2" dur="2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5" dur="2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8" dur="2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1" dur="2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4" dur="2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7" dur="2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0" dur="2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3" dur="2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6" dur="2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9" dur="2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2" dur="2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5" dur="2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8" dur="2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62" grpId="0" animBg="1"/>
      <p:bldP spid="10" grpId="0" animBg="1"/>
      <p:bldP spid="13" grpId="0" animBg="1"/>
      <p:bldP spid="17" grpId="0" animBg="1"/>
      <p:bldP spid="153" grpId="0" animBg="1"/>
      <p:bldP spid="154" grpId="0"/>
      <p:bldP spid="157" grpId="0" animBg="1"/>
      <p:bldP spid="158" grpId="0" animBg="1"/>
      <p:bldP spid="160" grpId="0" animBg="1"/>
      <p:bldP spid="25" grpId="0" animBg="1"/>
      <p:bldP spid="21" grpId="0"/>
      <p:bldP spid="31" grpId="0" animBg="1"/>
      <p:bldP spid="32" grpId="0"/>
      <p:bldP spid="33" grpId="0" animBg="1"/>
      <p:bldP spid="75" grpId="0" animBg="1"/>
      <p:bldP spid="76" grpId="0"/>
      <p:bldP spid="103" grpId="0"/>
      <p:bldP spid="163" grpId="0" animBg="1"/>
      <p:bldP spid="9" grpId="0" animBg="1"/>
      <p:bldP spid="14" grpId="0" animBg="1"/>
      <p:bldP spid="18" grpId="0" animBg="1"/>
      <p:bldP spid="114" grpId="0" animBg="1"/>
      <p:bldP spid="116" grpId="0"/>
      <p:bldP spid="22" grpId="0"/>
      <p:bldP spid="30" grpId="0" animBg="1"/>
      <p:bldP spid="26" grpId="0" animBg="1"/>
      <p:bldP spid="27" grpId="0" animBg="1"/>
      <p:bldP spid="28" grpId="0" animBg="1"/>
      <p:bldP spid="29" grpId="0" animBg="1"/>
      <p:bldP spid="164" grpId="0" animBg="1"/>
      <p:bldP spid="11" grpId="0" animBg="1"/>
      <p:bldP spid="15" grpId="0" animBg="1"/>
      <p:bldP spid="19" grpId="0" animBg="1"/>
      <p:bldP spid="136" grpId="0" animBg="1"/>
      <p:bldP spid="140" grpId="0" animBg="1"/>
      <p:bldP spid="141" grpId="0" animBg="1"/>
      <p:bldP spid="142" grpId="0" animBg="1"/>
      <p:bldP spid="120" grpId="0"/>
      <p:bldP spid="134" grpId="0" animBg="1"/>
      <p:bldP spid="132" grpId="0" animBg="1"/>
      <p:bldP spid="130" grpId="0" animBg="1"/>
      <p:bldP spid="23" grpId="0"/>
      <p:bldP spid="106" grpId="0"/>
      <p:bldP spid="57" grpId="0" animBg="1"/>
      <p:bldP spid="59" grpId="0" animBg="1"/>
      <p:bldP spid="60" grpId="0" animBg="1"/>
      <p:bldP spid="61" grpId="0"/>
      <p:bldP spid="117" grpId="0" animBg="1"/>
      <p:bldP spid="118" grpId="0" animBg="1"/>
      <p:bldP spid="41" grpId="0" animBg="1"/>
      <p:bldP spid="42" grpId="0" animBg="1"/>
      <p:bldP spid="43" grpId="0"/>
      <p:bldP spid="55" grpId="0" animBg="1"/>
      <p:bldP spid="39" grpId="0" animBg="1"/>
      <p:bldP spid="49" grpId="0" animBg="1"/>
      <p:bldP spid="50" grpId="0" animBg="1"/>
      <p:bldP spid="51" grpId="0"/>
      <p:bldP spid="165" grpId="0" animBg="1"/>
      <p:bldP spid="12" grpId="0" animBg="1"/>
      <p:bldP spid="16" grpId="0" animBg="1"/>
      <p:bldP spid="20" grpId="0" animBg="1"/>
      <p:bldP spid="146" grpId="0"/>
      <p:bldP spid="143" grpId="0" animBg="1"/>
      <p:bldP spid="147" grpId="0"/>
      <p:bldP spid="24" grpId="0"/>
      <p:bldP spid="78" grpId="0" animBg="1"/>
      <p:bldP spid="79" grpId="0" animBg="1"/>
      <p:bldP spid="80" grpId="0" animBg="1"/>
      <p:bldP spid="81" grpId="0" animBg="1"/>
      <p:bldP spid="82" grpId="0" animBg="1"/>
      <p:bldP spid="84" grpId="0" animBg="1"/>
      <p:bldP spid="85" grpId="0" animBg="1"/>
      <p:bldP spid="86" grpId="0" animBg="1"/>
      <p:bldP spid="83" grpId="0" animBg="1"/>
      <p:bldP spid="98" grpId="0"/>
      <p:bldP spid="100" grpId="0"/>
      <p:bldP spid="102" grpId="0"/>
      <p:bldP spid="97" grpId="0" animBg="1"/>
      <p:bldP spid="99" grpId="0" animBg="1"/>
      <p:bldP spid="101" grpId="0" animBg="1"/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183A93-A4E7-8D8D-CA8C-E1CF78E1B6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9">
            <a:extLst>
              <a:ext uri="{FF2B5EF4-FFF2-40B4-BE49-F238E27FC236}">
                <a16:creationId xmlns:a16="http://schemas.microsoft.com/office/drawing/2014/main" id="{14811011-567E-CC2F-8544-A39BF0FB4D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noAutofit/>
          </a:bodyPr>
          <a:lstStyle>
            <a:lvl1pPr algn="l" defTabSz="95130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72" b="0" kern="1200" cap="none" spc="-51" baseline="0" dirty="0" smtClean="0">
                <a:ln w="3175">
                  <a:noFill/>
                </a:ln>
                <a:gradFill flip="none" rotWithShape="1">
                  <a:gsLst>
                    <a:gs pos="82000">
                      <a:schemeClr val="tx1"/>
                    </a:gs>
                    <a:gs pos="0">
                      <a:schemeClr val="tx1"/>
                    </a:gs>
                  </a:gsLst>
                  <a:lin ang="2700000" scaled="1"/>
                  <a:tileRect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 algn="ctr"/>
            <a:r>
              <a:rPr lang="en-US" dirty="0"/>
              <a:t>Instructions are key to succe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B9F14E9-B42B-98A0-4610-0CAD83DF003B}"/>
              </a:ext>
            </a:extLst>
          </p:cNvPr>
          <p:cNvSpPr txBox="1"/>
          <p:nvPr/>
        </p:nvSpPr>
        <p:spPr>
          <a:xfrm>
            <a:off x="2639786" y="1092779"/>
            <a:ext cx="69124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6161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 well-structured set of instructions ensures that the agent understands its role and tasks and how to interact with users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FC228D96-08A2-B36E-9C11-769837172E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518502" y="1901105"/>
            <a:ext cx="9154996" cy="4377231"/>
          </a:xfrm>
          <a:prstGeom prst="roundRect">
            <a:avLst>
              <a:gd name="adj" fmla="val 10117"/>
            </a:avLst>
          </a:prstGeom>
          <a:solidFill>
            <a:srgbClr val="194449">
              <a:alpha val="10000"/>
            </a:srgbClr>
          </a:solidFill>
        </p:spPr>
        <p:txBody>
          <a:bodyPr wrap="square" lIns="0" tIns="0" rIns="0" bIns="45720" rtlCol="0" anchor="ctr" anchorCtr="0">
            <a:noAutofit/>
          </a:bodyPr>
          <a:lstStyle/>
          <a:p>
            <a:pPr marL="0" marR="0" lvl="0" indent="0" algn="ctr" defTabSz="227585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endParaRPr kumimoji="0" lang="en-US" sz="1765" b="1" i="0" u="none" strike="noStrike" kern="1200" cap="none" spc="0" normalizeH="0" baseline="0" noProof="0" dirty="0" err="1">
              <a:ln w="3175">
                <a:noFill/>
              </a:ln>
              <a:gradFill>
                <a:gsLst>
                  <a:gs pos="22936">
                    <a:srgbClr val="000000"/>
                  </a:gs>
                  <a:gs pos="38000">
                    <a:srgbClr val="000000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 panose="020B0502040204020203" pitchFamily="34" charset="0"/>
              <a:ea typeface="+mn-ea"/>
              <a:cs typeface="Segoe UI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D584C8E-0545-D49E-FE77-DE193535EE66}"/>
              </a:ext>
            </a:extLst>
          </p:cNvPr>
          <p:cNvSpPr/>
          <p:nvPr/>
        </p:nvSpPr>
        <p:spPr bwMode="auto">
          <a:xfrm>
            <a:off x="4115879" y="2109728"/>
            <a:ext cx="1828800" cy="519289"/>
          </a:xfrm>
          <a:prstGeom prst="roundRect">
            <a:avLst>
              <a:gd name="adj" fmla="val 33634"/>
            </a:avLst>
          </a:prstGeom>
          <a:gradFill>
            <a:gsLst>
              <a:gs pos="7000">
                <a:srgbClr val="3D61B4"/>
              </a:gs>
              <a:gs pos="88000">
                <a:srgbClr val="2167B7"/>
              </a:gs>
            </a:gsLst>
            <a:lin ang="10800000" scaled="1"/>
          </a:gradFill>
          <a:ln w="1270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137160" tIns="18288" rIns="13716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Purpose</a:t>
            </a:r>
            <a:endParaRPr kumimoji="0" lang="en-AU" sz="14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cxnSp>
        <p:nvCxnSpPr>
          <p:cNvPr id="32" name="Straight Arrow Connector 31" descr="arrow down&#10;">
            <a:extLst>
              <a:ext uri="{FF2B5EF4-FFF2-40B4-BE49-F238E27FC236}">
                <a16:creationId xmlns:a16="http://schemas.microsoft.com/office/drawing/2014/main" id="{49EECF02-8A0A-6C1F-551F-BA09032E349A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>
            <a:off x="5030279" y="2629017"/>
            <a:ext cx="0" cy="525880"/>
          </a:xfrm>
          <a:prstGeom prst="straightConnector1">
            <a:avLst/>
          </a:prstGeom>
          <a:ln w="12700" cap="rnd">
            <a:solidFill>
              <a:schemeClr val="tx1"/>
            </a:soli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24CA5E6-F4A8-FFEB-F0D2-02E721214983}"/>
              </a:ext>
            </a:extLst>
          </p:cNvPr>
          <p:cNvSpPr/>
          <p:nvPr/>
        </p:nvSpPr>
        <p:spPr bwMode="auto">
          <a:xfrm>
            <a:off x="4115879" y="3154897"/>
            <a:ext cx="1828800" cy="519289"/>
          </a:xfrm>
          <a:prstGeom prst="roundRect">
            <a:avLst>
              <a:gd name="adj" fmla="val 33787"/>
            </a:avLst>
          </a:prstGeom>
          <a:gradFill>
            <a:gsLst>
              <a:gs pos="7000">
                <a:srgbClr val="3D61B4"/>
              </a:gs>
              <a:gs pos="88000">
                <a:srgbClr val="2167B7"/>
              </a:gs>
            </a:gsLst>
            <a:lin ang="10800000" scaled="1"/>
          </a:gradFill>
          <a:ln w="1270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137160" tIns="18288" rIns="13716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Guidelines</a:t>
            </a:r>
            <a:endParaRPr kumimoji="0" lang="en-AU" sz="14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cxnSp>
        <p:nvCxnSpPr>
          <p:cNvPr id="25" name="Connector: Elbow 24" descr="arrow right">
            <a:extLst>
              <a:ext uri="{FF2B5EF4-FFF2-40B4-BE49-F238E27FC236}">
                <a16:creationId xmlns:a16="http://schemas.microsoft.com/office/drawing/2014/main" id="{8B1028A5-C12F-442A-8E39-97564FD2CB21}"/>
              </a:ext>
            </a:extLst>
          </p:cNvPr>
          <p:cNvCxnSpPr>
            <a:cxnSpLocks/>
            <a:stCxn id="8" idx="3"/>
            <a:endCxn id="10" idx="1"/>
          </p:cNvCxnSpPr>
          <p:nvPr/>
        </p:nvCxnSpPr>
        <p:spPr>
          <a:xfrm flipV="1">
            <a:off x="5944679" y="2321960"/>
            <a:ext cx="1554815" cy="1092582"/>
          </a:xfrm>
          <a:prstGeom prst="bentConnector3">
            <a:avLst/>
          </a:prstGeom>
          <a:ln w="12700" cap="rnd">
            <a:solidFill>
              <a:schemeClr val="tx1"/>
            </a:soli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FE96C0F-C01C-943C-0FC6-5792E48EAFBC}"/>
              </a:ext>
            </a:extLst>
          </p:cNvPr>
          <p:cNvSpPr/>
          <p:nvPr/>
        </p:nvSpPr>
        <p:spPr bwMode="auto">
          <a:xfrm>
            <a:off x="7499494" y="2106516"/>
            <a:ext cx="1992758" cy="430887"/>
          </a:xfrm>
          <a:prstGeom prst="roundRect">
            <a:avLst>
              <a:gd name="adj" fmla="val 41710"/>
            </a:avLst>
          </a:prstGeom>
          <a:gradFill>
            <a:gsLst>
              <a:gs pos="92000">
                <a:srgbClr val="4660B3"/>
              </a:gs>
              <a:gs pos="14032">
                <a:srgbClr val="6859AF"/>
              </a:gs>
            </a:gsLst>
            <a:lin ang="10800000" scaled="1"/>
          </a:gradFill>
          <a:ln w="1270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137160" tIns="18288" rIns="13716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General directions</a:t>
            </a:r>
            <a:endParaRPr kumimoji="0" lang="en-AU" sz="14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cxnSp>
        <p:nvCxnSpPr>
          <p:cNvPr id="26" name="Connector: Elbow 25" descr="arrow right">
            <a:extLst>
              <a:ext uri="{FF2B5EF4-FFF2-40B4-BE49-F238E27FC236}">
                <a16:creationId xmlns:a16="http://schemas.microsoft.com/office/drawing/2014/main" id="{245574B9-0A08-200C-730C-D4663CECA952}"/>
              </a:ext>
            </a:extLst>
          </p:cNvPr>
          <p:cNvCxnSpPr>
            <a:cxnSpLocks/>
            <a:stCxn id="8" idx="3"/>
            <a:endCxn id="16" idx="1"/>
          </p:cNvCxnSpPr>
          <p:nvPr/>
        </p:nvCxnSpPr>
        <p:spPr>
          <a:xfrm flipV="1">
            <a:off x="5944679" y="2875110"/>
            <a:ext cx="1554813" cy="539432"/>
          </a:xfrm>
          <a:prstGeom prst="bentConnector3">
            <a:avLst/>
          </a:prstGeom>
          <a:ln w="12700" cap="rnd">
            <a:solidFill>
              <a:schemeClr val="tx1"/>
            </a:soli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B8DF7EF-2C7C-7916-2E78-9DAE252406E7}"/>
              </a:ext>
            </a:extLst>
          </p:cNvPr>
          <p:cNvSpPr/>
          <p:nvPr/>
        </p:nvSpPr>
        <p:spPr bwMode="auto">
          <a:xfrm>
            <a:off x="7499492" y="2659666"/>
            <a:ext cx="1992758" cy="430887"/>
          </a:xfrm>
          <a:prstGeom prst="roundRect">
            <a:avLst>
              <a:gd name="adj" fmla="val 32693"/>
            </a:avLst>
          </a:prstGeom>
          <a:gradFill>
            <a:gsLst>
              <a:gs pos="92000">
                <a:srgbClr val="4660B3"/>
              </a:gs>
              <a:gs pos="14032">
                <a:srgbClr val="6859AF"/>
              </a:gs>
            </a:gsLst>
            <a:lin ang="10800000" scaled="1"/>
          </a:gradFill>
          <a:ln w="1270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137160" tIns="18288" rIns="13716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Tone</a:t>
            </a:r>
            <a:endParaRPr kumimoji="0" lang="en-AU" sz="14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cxnSp>
        <p:nvCxnSpPr>
          <p:cNvPr id="27" name="Connector: Elbow 26" descr="arrow right">
            <a:extLst>
              <a:ext uri="{FF2B5EF4-FFF2-40B4-BE49-F238E27FC236}">
                <a16:creationId xmlns:a16="http://schemas.microsoft.com/office/drawing/2014/main" id="{05CBC766-6BEE-AF4A-7D53-FB13A890CF74}"/>
              </a:ext>
            </a:extLst>
          </p:cNvPr>
          <p:cNvCxnSpPr>
            <a:cxnSpLocks/>
            <a:stCxn id="8" idx="3"/>
            <a:endCxn id="11" idx="1"/>
          </p:cNvCxnSpPr>
          <p:nvPr/>
        </p:nvCxnSpPr>
        <p:spPr>
          <a:xfrm>
            <a:off x="5944679" y="3414542"/>
            <a:ext cx="1554813" cy="12700"/>
          </a:xfrm>
          <a:prstGeom prst="bentConnector3">
            <a:avLst>
              <a:gd name="adj1" fmla="val 50000"/>
            </a:avLst>
          </a:prstGeom>
          <a:ln w="12700" cap="rnd">
            <a:solidFill>
              <a:schemeClr val="tx1"/>
            </a:soli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CE47700-BDD6-1EEA-91F5-414B6CCE929F}"/>
              </a:ext>
            </a:extLst>
          </p:cNvPr>
          <p:cNvSpPr/>
          <p:nvPr/>
        </p:nvSpPr>
        <p:spPr bwMode="auto">
          <a:xfrm>
            <a:off x="7499492" y="3199098"/>
            <a:ext cx="1992758" cy="430887"/>
          </a:xfrm>
          <a:prstGeom prst="roundRect">
            <a:avLst>
              <a:gd name="adj" fmla="val 37667"/>
            </a:avLst>
          </a:prstGeom>
          <a:gradFill>
            <a:gsLst>
              <a:gs pos="92000">
                <a:srgbClr val="4660B3"/>
              </a:gs>
              <a:gs pos="14032">
                <a:srgbClr val="6859AF"/>
              </a:gs>
            </a:gsLst>
            <a:lin ang="10800000" scaled="1"/>
          </a:gradFill>
          <a:ln w="1270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137160" tIns="18288" rIns="13716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Restrictions</a:t>
            </a:r>
            <a:endParaRPr kumimoji="0" lang="en-AU" sz="14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cxnSp>
        <p:nvCxnSpPr>
          <p:cNvPr id="24" name="Connector: Elbow 23" descr="arrow right">
            <a:extLst>
              <a:ext uri="{FF2B5EF4-FFF2-40B4-BE49-F238E27FC236}">
                <a16:creationId xmlns:a16="http://schemas.microsoft.com/office/drawing/2014/main" id="{DBE625BE-2D01-C2D8-44A5-3E332C89A8B3}"/>
              </a:ext>
            </a:extLst>
          </p:cNvPr>
          <p:cNvCxnSpPr>
            <a:cxnSpLocks/>
            <a:stCxn id="8" idx="3"/>
            <a:endCxn id="22" idx="1"/>
          </p:cNvCxnSpPr>
          <p:nvPr/>
        </p:nvCxnSpPr>
        <p:spPr>
          <a:xfrm>
            <a:off x="5944679" y="3414542"/>
            <a:ext cx="1554813" cy="566868"/>
          </a:xfrm>
          <a:prstGeom prst="bentConnector3">
            <a:avLst/>
          </a:prstGeom>
          <a:ln w="12700" cap="rnd">
            <a:solidFill>
              <a:schemeClr val="tx1"/>
            </a:soli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869C682-72B4-17A8-2AC4-8D5B525F2548}"/>
              </a:ext>
            </a:extLst>
          </p:cNvPr>
          <p:cNvSpPr/>
          <p:nvPr/>
        </p:nvSpPr>
        <p:spPr bwMode="auto">
          <a:xfrm>
            <a:off x="7499492" y="3765966"/>
            <a:ext cx="1992758" cy="430887"/>
          </a:xfrm>
          <a:prstGeom prst="roundRect">
            <a:avLst>
              <a:gd name="adj" fmla="val 36562"/>
            </a:avLst>
          </a:prstGeom>
          <a:gradFill>
            <a:gsLst>
              <a:gs pos="92000">
                <a:srgbClr val="4660B3"/>
              </a:gs>
              <a:gs pos="14032">
                <a:srgbClr val="6859AF"/>
              </a:gs>
            </a:gsLst>
            <a:lin ang="10800000" scaled="1"/>
          </a:gradFill>
          <a:ln w="1270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137160" tIns="18288" rIns="13716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Terminology</a:t>
            </a:r>
          </a:p>
        </p:txBody>
      </p:sp>
      <p:cxnSp>
        <p:nvCxnSpPr>
          <p:cNvPr id="33" name="Straight Arrow Connector 32" descr="arrow down&#10;">
            <a:extLst>
              <a:ext uri="{FF2B5EF4-FFF2-40B4-BE49-F238E27FC236}">
                <a16:creationId xmlns:a16="http://schemas.microsoft.com/office/drawing/2014/main" id="{E3394FCC-8539-5FDB-99AC-164E438BE9DD}"/>
              </a:ext>
            </a:extLst>
          </p:cNvPr>
          <p:cNvCxnSpPr>
            <a:cxnSpLocks/>
            <a:stCxn id="8" idx="2"/>
            <a:endCxn id="17" idx="0"/>
          </p:cNvCxnSpPr>
          <p:nvPr/>
        </p:nvCxnSpPr>
        <p:spPr>
          <a:xfrm>
            <a:off x="5030279" y="3674186"/>
            <a:ext cx="0" cy="525879"/>
          </a:xfrm>
          <a:prstGeom prst="straightConnector1">
            <a:avLst/>
          </a:prstGeom>
          <a:ln w="12700" cap="rnd">
            <a:solidFill>
              <a:schemeClr val="tx1"/>
            </a:soli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3C1A81C-D1B7-C54E-2B29-20335584BB35}"/>
              </a:ext>
            </a:extLst>
          </p:cNvPr>
          <p:cNvSpPr/>
          <p:nvPr/>
        </p:nvSpPr>
        <p:spPr bwMode="auto">
          <a:xfrm>
            <a:off x="4115879" y="4200065"/>
            <a:ext cx="1828800" cy="519289"/>
          </a:xfrm>
          <a:prstGeom prst="roundRect">
            <a:avLst>
              <a:gd name="adj" fmla="val 35009"/>
            </a:avLst>
          </a:prstGeom>
          <a:gradFill>
            <a:gsLst>
              <a:gs pos="7000">
                <a:srgbClr val="3D61B4"/>
              </a:gs>
              <a:gs pos="88000">
                <a:srgbClr val="2167B7"/>
              </a:gs>
            </a:gsLst>
            <a:lin ang="10800000" scaled="1"/>
          </a:gradFill>
          <a:ln w="1270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137160" tIns="18288" rIns="13716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kills</a:t>
            </a:r>
            <a:endParaRPr kumimoji="0" lang="en-AU" sz="14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cxnSp>
        <p:nvCxnSpPr>
          <p:cNvPr id="30" name="Connector: Elbow 29" descr="arrow down&#10;">
            <a:extLst>
              <a:ext uri="{FF2B5EF4-FFF2-40B4-BE49-F238E27FC236}">
                <a16:creationId xmlns:a16="http://schemas.microsoft.com/office/drawing/2014/main" id="{0C5A4E86-7459-7E0C-2325-293AF6C7C0E3}"/>
              </a:ext>
            </a:extLst>
          </p:cNvPr>
          <p:cNvCxnSpPr>
            <a:cxnSpLocks/>
            <a:stCxn id="17" idx="1"/>
            <a:endCxn id="19" idx="0"/>
          </p:cNvCxnSpPr>
          <p:nvPr/>
        </p:nvCxnSpPr>
        <p:spPr>
          <a:xfrm rot="10800000" flipV="1">
            <a:off x="2889387" y="4459709"/>
            <a:ext cx="1226493" cy="568289"/>
          </a:xfrm>
          <a:prstGeom prst="bentConnector2">
            <a:avLst/>
          </a:prstGeom>
          <a:ln w="12700" cap="rnd">
            <a:solidFill>
              <a:schemeClr val="tx1"/>
            </a:soli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AA0DCDEB-46F1-8DC3-2034-50F5A4D198DE}"/>
              </a:ext>
            </a:extLst>
          </p:cNvPr>
          <p:cNvSpPr/>
          <p:nvPr/>
        </p:nvSpPr>
        <p:spPr bwMode="auto">
          <a:xfrm>
            <a:off x="1843586" y="5027999"/>
            <a:ext cx="2091600" cy="998773"/>
          </a:xfrm>
          <a:prstGeom prst="roundRect">
            <a:avLst>
              <a:gd name="adj" fmla="val 21443"/>
            </a:avLst>
          </a:prstGeom>
          <a:gradFill>
            <a:gsLst>
              <a:gs pos="5000">
                <a:srgbClr val="2266B7"/>
              </a:gs>
              <a:gs pos="96000">
                <a:srgbClr val="0A6BBA"/>
              </a:gs>
            </a:gsLst>
            <a:lin ang="10800000" scaled="1"/>
          </a:gradFill>
          <a:ln w="1270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90000" tIns="18288" rIns="9000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kill 1</a:t>
            </a:r>
          </a:p>
          <a:p>
            <a:pPr marL="171450" marR="0" lvl="0" indent="-17145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Description </a:t>
            </a:r>
          </a:p>
          <a:p>
            <a:pPr marL="171450" marR="0" lvl="0" indent="-17145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Step-by-step workflow</a:t>
            </a:r>
          </a:p>
          <a:p>
            <a:pPr marL="171450" marR="0" lvl="0" indent="-17145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Sample output</a:t>
            </a:r>
            <a:endParaRPr kumimoji="0" lang="en-AU" sz="12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cxnSp>
        <p:nvCxnSpPr>
          <p:cNvPr id="107" name="Straight Arrow Connector 106" descr="arrow down&#10;">
            <a:extLst>
              <a:ext uri="{FF2B5EF4-FFF2-40B4-BE49-F238E27FC236}">
                <a16:creationId xmlns:a16="http://schemas.microsoft.com/office/drawing/2014/main" id="{4AA1B31D-4AA4-BF2E-943F-C6BB12B63382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5030279" y="4719354"/>
            <a:ext cx="0" cy="308645"/>
          </a:xfrm>
          <a:prstGeom prst="straightConnector1">
            <a:avLst/>
          </a:prstGeom>
          <a:ln w="12700" cap="rnd">
            <a:solidFill>
              <a:schemeClr val="tx1"/>
            </a:soli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C8D08E8-4839-18B0-8690-A28319DDD3F0}"/>
              </a:ext>
            </a:extLst>
          </p:cNvPr>
          <p:cNvSpPr/>
          <p:nvPr/>
        </p:nvSpPr>
        <p:spPr bwMode="auto">
          <a:xfrm>
            <a:off x="4052327" y="5027999"/>
            <a:ext cx="1955904" cy="998773"/>
          </a:xfrm>
          <a:prstGeom prst="roundRect">
            <a:avLst>
              <a:gd name="adj" fmla="val 22305"/>
            </a:avLst>
          </a:prstGeom>
          <a:gradFill>
            <a:gsLst>
              <a:gs pos="7000">
                <a:srgbClr val="3D61B4"/>
              </a:gs>
              <a:gs pos="88000">
                <a:srgbClr val="2167B7"/>
              </a:gs>
            </a:gsLst>
            <a:lin ang="10800000" scaled="1"/>
          </a:gradFill>
          <a:ln w="1270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90000" tIns="18288" rIns="9000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kill 2</a:t>
            </a:r>
          </a:p>
          <a:p>
            <a:pPr marL="171450" marR="0" lvl="0" indent="-17145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Description </a:t>
            </a:r>
          </a:p>
          <a:p>
            <a:pPr marL="171450" marR="0" lvl="0" indent="-17145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Sample output</a:t>
            </a:r>
            <a:endParaRPr kumimoji="0" lang="en-AU" sz="12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cxnSp>
        <p:nvCxnSpPr>
          <p:cNvPr id="28" name="Connector: Elbow 27" descr="arrow down&#10;">
            <a:extLst>
              <a:ext uri="{FF2B5EF4-FFF2-40B4-BE49-F238E27FC236}">
                <a16:creationId xmlns:a16="http://schemas.microsoft.com/office/drawing/2014/main" id="{CAF775D6-3CEB-DDD8-ED5B-B47A38675AD1}"/>
              </a:ext>
            </a:extLst>
          </p:cNvPr>
          <p:cNvCxnSpPr>
            <a:cxnSpLocks/>
            <a:stCxn id="17" idx="3"/>
            <a:endCxn id="23" idx="0"/>
          </p:cNvCxnSpPr>
          <p:nvPr/>
        </p:nvCxnSpPr>
        <p:spPr>
          <a:xfrm>
            <a:off x="5944679" y="4459710"/>
            <a:ext cx="1217043" cy="568289"/>
          </a:xfrm>
          <a:prstGeom prst="bentConnector2">
            <a:avLst/>
          </a:prstGeom>
          <a:ln w="12700" cap="rnd">
            <a:solidFill>
              <a:schemeClr val="tx1"/>
            </a:soli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F95E29A-5CC1-1044-0512-3B55B406F8D5}"/>
              </a:ext>
            </a:extLst>
          </p:cNvPr>
          <p:cNvSpPr/>
          <p:nvPr/>
        </p:nvSpPr>
        <p:spPr bwMode="auto">
          <a:xfrm>
            <a:off x="6126029" y="5027999"/>
            <a:ext cx="2071386" cy="998774"/>
          </a:xfrm>
          <a:prstGeom prst="roundRect">
            <a:avLst>
              <a:gd name="adj" fmla="val 21231"/>
            </a:avLst>
          </a:prstGeom>
          <a:gradFill>
            <a:gsLst>
              <a:gs pos="4000">
                <a:srgbClr val="5B5BB0"/>
              </a:gs>
              <a:gs pos="95000">
                <a:srgbClr val="3762B5"/>
              </a:gs>
            </a:gsLst>
            <a:lin ang="10800000" scaled="1"/>
          </a:gradFill>
          <a:ln w="1270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90000" tIns="18288" rIns="9000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kill 3</a:t>
            </a:r>
          </a:p>
          <a:p>
            <a:pPr marL="171450" marR="0" lvl="0" indent="-17145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Description </a:t>
            </a:r>
          </a:p>
          <a:p>
            <a:pPr marL="171450" marR="0" lvl="0" indent="-17145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Step-by-step workflow</a:t>
            </a:r>
          </a:p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cxnSp>
        <p:nvCxnSpPr>
          <p:cNvPr id="29" name="Connector: Elbow 28" descr="arrow down&#10;">
            <a:extLst>
              <a:ext uri="{FF2B5EF4-FFF2-40B4-BE49-F238E27FC236}">
                <a16:creationId xmlns:a16="http://schemas.microsoft.com/office/drawing/2014/main" id="{0F1E6C85-E324-1AD5-F6B3-186E96F2275C}"/>
              </a:ext>
            </a:extLst>
          </p:cNvPr>
          <p:cNvCxnSpPr>
            <a:cxnSpLocks/>
            <a:stCxn id="17" idx="3"/>
            <a:endCxn id="21" idx="0"/>
          </p:cNvCxnSpPr>
          <p:nvPr/>
        </p:nvCxnSpPr>
        <p:spPr>
          <a:xfrm>
            <a:off x="5944679" y="4459710"/>
            <a:ext cx="3348486" cy="568289"/>
          </a:xfrm>
          <a:prstGeom prst="bentConnector2">
            <a:avLst/>
          </a:prstGeom>
          <a:ln w="12700" cap="rnd">
            <a:solidFill>
              <a:schemeClr val="tx1"/>
            </a:soli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FA89F87-35AD-CE7F-47A3-F507C33FEFF4}"/>
              </a:ext>
            </a:extLst>
          </p:cNvPr>
          <p:cNvSpPr/>
          <p:nvPr/>
        </p:nvSpPr>
        <p:spPr bwMode="auto">
          <a:xfrm>
            <a:off x="8315213" y="5027999"/>
            <a:ext cx="1955904" cy="998774"/>
          </a:xfrm>
          <a:prstGeom prst="roundRect">
            <a:avLst>
              <a:gd name="adj" fmla="val 21499"/>
            </a:avLst>
          </a:prstGeom>
          <a:gradFill>
            <a:gsLst>
              <a:gs pos="88000">
                <a:srgbClr val="625AAF"/>
              </a:gs>
              <a:gs pos="2000">
                <a:srgbClr val="7656AD"/>
              </a:gs>
            </a:gsLst>
            <a:lin ang="10800000" scaled="1"/>
          </a:gradFill>
          <a:ln w="12700" cap="flat">
            <a:noFill/>
            <a:prstDash val="solid"/>
            <a:miter/>
          </a:ln>
          <a:effectLst/>
        </p:spPr>
        <p:txBody>
          <a:bodyPr rot="0" spcFirstLastPara="0" vertOverflow="overflow" horzOverflow="overflow" vert="horz" wrap="square" lIns="90000" tIns="18288" rIns="90000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Skill n</a:t>
            </a:r>
          </a:p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…</a:t>
            </a:r>
            <a:endParaRPr kumimoji="0" lang="en-US" sz="12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93995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3" grpId="0"/>
      <p:bldP spid="2" grpId="0" animBg="1"/>
      <p:bldP spid="6" grpId="0" animBg="1"/>
      <p:bldP spid="8" grpId="0" animBg="1"/>
      <p:bldP spid="10" grpId="0" animBg="1"/>
      <p:bldP spid="16" grpId="0" animBg="1"/>
      <p:bldP spid="11" grpId="0" animBg="1"/>
      <p:bldP spid="22" grpId="0" animBg="1"/>
      <p:bldP spid="17" grpId="0" animBg="1"/>
      <p:bldP spid="19" grpId="0" animBg="1"/>
      <p:bldP spid="18" grpId="0" animBg="1"/>
      <p:bldP spid="23" grpId="0" animBg="1"/>
      <p:bldP spid="2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C85C62-D8F1-13A1-9B6B-FC020E8457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4">
            <a:extLst>
              <a:ext uri="{FF2B5EF4-FFF2-40B4-BE49-F238E27FC236}">
                <a16:creationId xmlns:a16="http://schemas.microsoft.com/office/drawing/2014/main" id="{EEE47803-E3D9-5271-B877-0EAA58B14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6382" y="457200"/>
            <a:ext cx="10279831" cy="554038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Deep reason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0EA2CA4-A3A1-BE87-DF2C-CBBB4F52A3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787" y="438723"/>
            <a:ext cx="559729" cy="5597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BDA0F6D-3B08-ADAB-D3FF-0B661B7A1A24}"/>
              </a:ext>
            </a:extLst>
          </p:cNvPr>
          <p:cNvSpPr txBox="1"/>
          <p:nvPr/>
        </p:nvSpPr>
        <p:spPr>
          <a:xfrm>
            <a:off x="588963" y="1436688"/>
            <a:ext cx="3561006" cy="707886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Execute ambiguous and multi-faceted business process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E2B82C-842C-A78F-F0EB-9AAAEE7CF86E}"/>
              </a:ext>
            </a:extLst>
          </p:cNvPr>
          <p:cNvSpPr txBox="1"/>
          <p:nvPr/>
        </p:nvSpPr>
        <p:spPr>
          <a:xfrm>
            <a:off x="588964" y="2389743"/>
            <a:ext cx="3275550" cy="21852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Step by step approach </a:t>
            </a: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</a:b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to tasks requiring deliberation </a:t>
            </a: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</a:b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and problem solv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Currently uses OpenAI o1, o3 </a:t>
            </a: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</a:b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and o4 com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Reports, tables </a:t>
            </a: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</a:b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and optimization task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1BFE5A-B384-90DA-22BE-376A5E71D6B1}"/>
              </a:ext>
            </a:extLst>
          </p:cNvPr>
          <p:cNvSpPr txBox="1"/>
          <p:nvPr/>
        </p:nvSpPr>
        <p:spPr>
          <a:xfrm>
            <a:off x="588963" y="4820126"/>
            <a:ext cx="3476625" cy="106695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Recent customer example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Request for Proposals (RFPs), contract reviews, market analysis and compliance checks.</a:t>
            </a:r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64CBAEBD-347B-CF85-7539-3BB03F817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420350" y="935831"/>
            <a:ext cx="1477963" cy="500614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0"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6E7B7B-FAF0-1A18-2F9F-CCC16CD6EB6A}"/>
              </a:ext>
            </a:extLst>
          </p:cNvPr>
          <p:cNvSpPr txBox="1"/>
          <p:nvPr/>
        </p:nvSpPr>
        <p:spPr>
          <a:xfrm>
            <a:off x="10553383" y="1032250"/>
            <a:ext cx="12118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review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D6603E-83DE-5EF9-FCE4-4FC26D602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546570" y="1436689"/>
            <a:ext cx="8229630" cy="4485480"/>
          </a:xfrm>
          <a:prstGeom prst="roundRect">
            <a:avLst>
              <a:gd name="adj" fmla="val 7196"/>
            </a:avLst>
          </a:prstGeom>
          <a:solidFill>
            <a:srgbClr val="194449">
              <a:alpha val="10000"/>
            </a:srgbClr>
          </a:solidFill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1600" spc="-20">
                <a:ln w="3175">
                  <a:noFill/>
                </a:ln>
                <a:gradFill>
                  <a:gsLst>
                    <a:gs pos="0">
                      <a:srgbClr val="0078D4"/>
                    </a:gs>
                    <a:gs pos="80000">
                      <a:srgbClr val="399A91"/>
                    </a:gs>
                  </a:gsLst>
                  <a:path path="circle">
                    <a:fillToRect l="100000" t="100000"/>
                  </a:path>
                </a:gradFill>
                <a:latin typeface="Segoe UI Semibold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-20" normalizeH="0" baseline="0" noProof="0">
              <a:ln w="3175">
                <a:noFill/>
              </a:ln>
              <a:gradFill>
                <a:gsLst>
                  <a:gs pos="0">
                    <a:srgbClr val="0078D4"/>
                  </a:gs>
                  <a:gs pos="80000">
                    <a:srgbClr val="399A91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1" name="Picture 10" descr="Screenshot of Copilot Studio activity map - reason with advanced model">
            <a:extLst>
              <a:ext uri="{FF2B5EF4-FFF2-40B4-BE49-F238E27FC236}">
                <a16:creationId xmlns:a16="http://schemas.microsoft.com/office/drawing/2014/main" id="{C8434EE5-6955-9852-E1F2-8A6660AD594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7269"/>
          <a:stretch>
            <a:fillRect/>
          </a:stretch>
        </p:blipFill>
        <p:spPr>
          <a:xfrm>
            <a:off x="4742400" y="1637241"/>
            <a:ext cx="7155913" cy="4063948"/>
          </a:xfrm>
          <a:prstGeom prst="roundRect">
            <a:avLst>
              <a:gd name="adj" fmla="val 3729"/>
            </a:avLst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B2E7CB1-2747-AC54-E0C5-22EB569978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3959774"/>
            <a:ext cx="320040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729795F-EB29-43E6-FF01-267398C8C4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3257034"/>
            <a:ext cx="320040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6428180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" grpId="0"/>
      <p:bldP spid="15" grpId="0"/>
      <p:bldP spid="13" grpId="0"/>
      <p:bldP spid="3" grpId="0" animBg="1"/>
      <p:bldP spid="4" grpId="0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8C94C0-5391-CB43-068B-D8327628DC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651467D0-C108-F393-1498-2A9AD325DB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787" y="438723"/>
            <a:ext cx="559729" cy="559727"/>
          </a:xfrm>
          <a:prstGeom prst="rect">
            <a:avLst/>
          </a:prstGeom>
        </p:spPr>
      </p:pic>
      <p:sp>
        <p:nvSpPr>
          <p:cNvPr id="18" name="Title 4">
            <a:extLst>
              <a:ext uri="{FF2B5EF4-FFF2-40B4-BE49-F238E27FC236}">
                <a16:creationId xmlns:a16="http://schemas.microsoft.com/office/drawing/2014/main" id="{A351DDAB-7282-8B23-CF40-006447534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6382" y="457200"/>
            <a:ext cx="10279831" cy="554038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Multi-agent orchestr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AAE039A-0631-3432-C35E-AB3B936D6DCC}"/>
              </a:ext>
            </a:extLst>
          </p:cNvPr>
          <p:cNvSpPr txBox="1"/>
          <p:nvPr/>
        </p:nvSpPr>
        <p:spPr>
          <a:xfrm>
            <a:off x="588963" y="1436688"/>
            <a:ext cx="3561006" cy="1015663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Orchestrate intelligent agents to deliver reliable, scalable outco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6C3A6CE-9DCC-80B5-0470-B02A4ED9C587}"/>
              </a:ext>
            </a:extLst>
          </p:cNvPr>
          <p:cNvSpPr txBox="1"/>
          <p:nvPr/>
        </p:nvSpPr>
        <p:spPr>
          <a:xfrm>
            <a:off x="588964" y="2782848"/>
            <a:ext cx="3275550" cy="31393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Build and scale with modular, composable agent architec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Coordinate across agents with generative orchestr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Enable cross-team collaboration with reusable agent compon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Gain visibility with built-in debugging and traceabi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381E2824-6ECD-D22A-C493-22ACE93AE5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420350" y="935831"/>
            <a:ext cx="1477963" cy="500614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0"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399BFD-579B-D5A9-A1EB-CF41E2D0B420}"/>
              </a:ext>
            </a:extLst>
          </p:cNvPr>
          <p:cNvSpPr txBox="1"/>
          <p:nvPr/>
        </p:nvSpPr>
        <p:spPr>
          <a:xfrm>
            <a:off x="10553383" y="1032250"/>
            <a:ext cx="12118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review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D5FE3B-86F0-A780-02D9-544A7746F7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546570" y="1436689"/>
            <a:ext cx="8229630" cy="4485480"/>
          </a:xfrm>
          <a:prstGeom prst="roundRect">
            <a:avLst>
              <a:gd name="adj" fmla="val 7196"/>
            </a:avLst>
          </a:prstGeom>
          <a:solidFill>
            <a:srgbClr val="194449">
              <a:alpha val="10000"/>
            </a:srgbClr>
          </a:solidFill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1600" spc="-20">
                <a:ln w="3175">
                  <a:noFill/>
                </a:ln>
                <a:gradFill>
                  <a:gsLst>
                    <a:gs pos="0">
                      <a:srgbClr val="0078D4"/>
                    </a:gs>
                    <a:gs pos="80000">
                      <a:srgbClr val="399A91"/>
                    </a:gs>
                  </a:gsLst>
                  <a:path path="circle">
                    <a:fillToRect l="100000" t="100000"/>
                  </a:path>
                </a:gradFill>
                <a:latin typeface="Segoe UI Semibold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-20" normalizeH="0" baseline="0" noProof="0">
              <a:ln w="3175">
                <a:noFill/>
              </a:ln>
              <a:gradFill>
                <a:gsLst>
                  <a:gs pos="0">
                    <a:srgbClr val="0078D4"/>
                  </a:gs>
                  <a:gs pos="80000">
                    <a:srgbClr val="399A91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" name="Picture 6" descr="screenshot">
            <a:extLst>
              <a:ext uri="{FF2B5EF4-FFF2-40B4-BE49-F238E27FC236}">
                <a16:creationId xmlns:a16="http://schemas.microsoft.com/office/drawing/2014/main" id="{BCB0E89C-7782-8E74-961E-CD770507CB2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467" b="4330"/>
          <a:stretch>
            <a:fillRect/>
          </a:stretch>
        </p:blipFill>
        <p:spPr>
          <a:xfrm>
            <a:off x="4765350" y="1673291"/>
            <a:ext cx="7132963" cy="4012277"/>
          </a:xfrm>
          <a:prstGeom prst="roundRect">
            <a:avLst>
              <a:gd name="adj" fmla="val 2965"/>
            </a:avLst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6AB6EF2-F141-5E3F-CFAD-33BC8CD7F0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4116937"/>
            <a:ext cx="320040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5323811-FE8D-25F4-ECDC-74E570C641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3395147"/>
            <a:ext cx="320040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EA331D-F268-2D56-0B06-ED4E05B42B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4840837"/>
            <a:ext cx="320040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13105232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" grpId="0"/>
      <p:bldP spid="15" grpId="0"/>
      <p:bldP spid="3" grpId="0" animBg="1"/>
      <p:bldP spid="4" grpId="0"/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4A92AE-0C14-0D7F-99C5-523646861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4">
            <a:extLst>
              <a:ext uri="{FF2B5EF4-FFF2-40B4-BE49-F238E27FC236}">
                <a16:creationId xmlns:a16="http://schemas.microsoft.com/office/drawing/2014/main" id="{E7D28B0C-313D-CDC3-DF70-98F08AD5A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6382" y="457200"/>
            <a:ext cx="10279831" cy="554038"/>
          </a:xfrm>
        </p:spPr>
        <p:txBody>
          <a:bodyPr wrap="square">
            <a:spAutoFit/>
          </a:bodyPr>
          <a:lstStyle/>
          <a:p>
            <a:pPr lvl="0"/>
            <a:r>
              <a:rPr lang="en-US" dirty="0">
                <a:cs typeface="Segoe UI"/>
              </a:rPr>
              <a:t>Model Context Protocol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1A59C9E-BEE9-735B-9696-233989F166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787" y="438723"/>
            <a:ext cx="559729" cy="5597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C961C21-8F07-63DE-9A5E-85BCC48C6ACD}"/>
              </a:ext>
            </a:extLst>
          </p:cNvPr>
          <p:cNvSpPr txBox="1"/>
          <p:nvPr/>
        </p:nvSpPr>
        <p:spPr>
          <a:xfrm>
            <a:off x="588962" y="1436688"/>
            <a:ext cx="3383280" cy="1477328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 universal interface that allows AI models to interact with external tools, data sources, </a:t>
            </a:r>
            <a:br>
              <a:rPr kumimoji="0" lang="en-US" sz="18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</a:br>
            <a:r>
              <a:rPr kumimoji="0" lang="en-US" sz="18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nd user environments in a consistent and scalable way 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39A24F-ED7C-E555-CEA7-30E80FB31945}"/>
              </a:ext>
            </a:extLst>
          </p:cNvPr>
          <p:cNvSpPr txBox="1"/>
          <p:nvPr/>
        </p:nvSpPr>
        <p:spPr>
          <a:xfrm>
            <a:off x="588962" y="3141146"/>
            <a:ext cx="3602121" cy="289310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Standardized Context </a:t>
            </a: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</a:b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for AI Models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Seamless Integration </a:t>
            </a: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</a:b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with Copilot Studio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Improved Developer Efficiency </a:t>
            </a: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</a:b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and UX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Governance, Monitoring, Extensibility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99DB2C7D-1CD5-2647-9A48-DF5FFB4FD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420350" y="935831"/>
            <a:ext cx="1477963" cy="500614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0"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CE1884-1B2C-FD63-6E30-FFA4AD6926EF}"/>
              </a:ext>
            </a:extLst>
          </p:cNvPr>
          <p:cNvSpPr txBox="1"/>
          <p:nvPr/>
        </p:nvSpPr>
        <p:spPr>
          <a:xfrm>
            <a:off x="10553383" y="1032250"/>
            <a:ext cx="12118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review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0A5940-08E1-35AF-3D1F-A8D6418D8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546570" y="1436689"/>
            <a:ext cx="8229630" cy="4572226"/>
          </a:xfrm>
          <a:prstGeom prst="roundRect">
            <a:avLst>
              <a:gd name="adj" fmla="val 7196"/>
            </a:avLst>
          </a:prstGeom>
          <a:solidFill>
            <a:srgbClr val="194449">
              <a:alpha val="10000"/>
            </a:srgbClr>
          </a:solidFill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1600" spc="-20">
                <a:ln w="3175">
                  <a:noFill/>
                </a:ln>
                <a:gradFill>
                  <a:gsLst>
                    <a:gs pos="0">
                      <a:srgbClr val="0078D4"/>
                    </a:gs>
                    <a:gs pos="80000">
                      <a:srgbClr val="399A91"/>
                    </a:gs>
                  </a:gsLst>
                  <a:path path="circle">
                    <a:fillToRect l="100000" t="100000"/>
                  </a:path>
                </a:gradFill>
                <a:latin typeface="Segoe UI Semibold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-20" normalizeH="0" baseline="0" noProof="0">
              <a:ln w="3175">
                <a:noFill/>
              </a:ln>
              <a:gradFill>
                <a:gsLst>
                  <a:gs pos="0">
                    <a:srgbClr val="0078D4"/>
                  </a:gs>
                  <a:gs pos="80000">
                    <a:srgbClr val="399A91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586F8F1-4031-693D-528C-0CB1A4A87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4476922"/>
            <a:ext cx="320040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537CEA0-2844-E931-97E2-B8846374CB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3761090"/>
            <a:ext cx="320040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4BB526D-6059-C7B6-64A3-A04023C2E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5205585"/>
            <a:ext cx="320040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A screenshot of a computer">
            <a:extLst>
              <a:ext uri="{FF2B5EF4-FFF2-40B4-BE49-F238E27FC236}">
                <a16:creationId xmlns:a16="http://schemas.microsoft.com/office/drawing/2014/main" id="{F9241120-B369-6C68-AFEF-6C7993B39C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9" t="1694" r="2423" b="16004"/>
          <a:stretch>
            <a:fillRect/>
          </a:stretch>
        </p:blipFill>
        <p:spPr bwMode="auto">
          <a:xfrm>
            <a:off x="4752975" y="1655170"/>
            <a:ext cx="7145338" cy="4095072"/>
          </a:xfrm>
          <a:prstGeom prst="roundRect">
            <a:avLst>
              <a:gd name="adj" fmla="val 2671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607731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" grpId="0"/>
      <p:bldP spid="15" grpId="0"/>
      <p:bldP spid="3" grpId="0" animBg="1"/>
      <p:bldP spid="4" grpId="0"/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2C26D-445E-2D11-6F5D-3464B17796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93F63B45-6B8C-866F-EF94-163D7853E6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787" y="438723"/>
            <a:ext cx="559729" cy="559727"/>
          </a:xfrm>
          <a:prstGeom prst="rect">
            <a:avLst/>
          </a:prstGeom>
        </p:spPr>
      </p:pic>
      <p:sp>
        <p:nvSpPr>
          <p:cNvPr id="18" name="Title 4">
            <a:extLst>
              <a:ext uri="{FF2B5EF4-FFF2-40B4-BE49-F238E27FC236}">
                <a16:creationId xmlns:a16="http://schemas.microsoft.com/office/drawing/2014/main" id="{764CAFD3-FA8E-9E90-7974-15A4DC891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6382" y="457200"/>
            <a:ext cx="10279831" cy="554038"/>
          </a:xfrm>
        </p:spPr>
        <p:txBody>
          <a:bodyPr wrap="square">
            <a:spAutoFit/>
          </a:bodyPr>
          <a:lstStyle/>
          <a:p>
            <a:pPr lvl="0"/>
            <a:r>
              <a:rPr lang="en-US" dirty="0">
                <a:cs typeface="Segoe UI"/>
              </a:rPr>
              <a:t>Agent flows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7F1688B-9C23-2137-BC01-43C8C08CE82C}"/>
              </a:ext>
            </a:extLst>
          </p:cNvPr>
          <p:cNvSpPr txBox="1"/>
          <p:nvPr/>
        </p:nvSpPr>
        <p:spPr>
          <a:xfrm>
            <a:off x="588963" y="1436688"/>
            <a:ext cx="3561006" cy="1015663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Increased control over your agentic outcomes with fixed automation pathway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AB0871-7833-F7F6-9D7E-EE9FCDC39741}"/>
              </a:ext>
            </a:extLst>
          </p:cNvPr>
          <p:cNvSpPr txBox="1"/>
          <p:nvPr/>
        </p:nvSpPr>
        <p:spPr>
          <a:xfrm>
            <a:off x="588964" y="2782848"/>
            <a:ext cx="3383280" cy="34009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Agent flows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ecute repetitive tasks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quickly  by precisely following a predefined sequen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ccomplish objectives faster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by skipping reasoning where appropri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dvanced features like multi-stage and conditional approvals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to manage complex approval workflow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8DD27040-714C-08E1-EC66-64972529F3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218296" y="935831"/>
            <a:ext cx="2680017" cy="500614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0"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C153ED-51DB-51D3-728E-4643942D871F}"/>
              </a:ext>
            </a:extLst>
          </p:cNvPr>
          <p:cNvSpPr txBox="1"/>
          <p:nvPr/>
        </p:nvSpPr>
        <p:spPr>
          <a:xfrm>
            <a:off x="9298623" y="1032250"/>
            <a:ext cx="251936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Generally availa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9B4EC8-75E9-E22B-A839-EF545554EC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546570" y="1436689"/>
            <a:ext cx="8229630" cy="4485480"/>
          </a:xfrm>
          <a:prstGeom prst="roundRect">
            <a:avLst>
              <a:gd name="adj" fmla="val 7196"/>
            </a:avLst>
          </a:prstGeom>
          <a:solidFill>
            <a:srgbClr val="194449">
              <a:alpha val="10000"/>
            </a:srgbClr>
          </a:solidFill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1600" spc="-20">
                <a:ln w="3175">
                  <a:noFill/>
                </a:ln>
                <a:gradFill>
                  <a:gsLst>
                    <a:gs pos="0">
                      <a:srgbClr val="0078D4"/>
                    </a:gs>
                    <a:gs pos="80000">
                      <a:srgbClr val="399A91"/>
                    </a:gs>
                  </a:gsLst>
                  <a:path path="circle">
                    <a:fillToRect l="100000" t="100000"/>
                  </a:path>
                </a:gradFill>
                <a:latin typeface="Segoe UI Semibold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-20" normalizeH="0" baseline="0" noProof="0">
              <a:ln w="3175">
                <a:noFill/>
              </a:ln>
              <a:gradFill>
                <a:gsLst>
                  <a:gs pos="0">
                    <a:srgbClr val="0078D4"/>
                  </a:gs>
                  <a:gs pos="80000">
                    <a:srgbClr val="399A91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1" name="Picture 10" descr="Screnshot of a customer feedback triage flow">
            <a:extLst>
              <a:ext uri="{FF2B5EF4-FFF2-40B4-BE49-F238E27FC236}">
                <a16:creationId xmlns:a16="http://schemas.microsoft.com/office/drawing/2014/main" id="{1BFF7723-FC5D-E2ED-378C-D89790FC3B6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756" r="806"/>
          <a:stretch>
            <a:fillRect/>
          </a:stretch>
        </p:blipFill>
        <p:spPr>
          <a:xfrm>
            <a:off x="4765993" y="1645146"/>
            <a:ext cx="7132320" cy="4068565"/>
          </a:xfrm>
          <a:prstGeom prst="roundRect">
            <a:avLst>
              <a:gd name="adj" fmla="val 3083"/>
            </a:avLst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55917C3-F15A-7B6D-778C-B3EB9940E5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4612237"/>
            <a:ext cx="338328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B082C79-10C0-3A92-D863-EA5BB8282D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8962" y="3649147"/>
            <a:ext cx="3383280" cy="0"/>
          </a:xfrm>
          <a:prstGeom prst="line">
            <a:avLst/>
          </a:prstGeom>
          <a:ln>
            <a:solidFill>
              <a:schemeClr val="tx1">
                <a:alpha val="2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6387271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" grpId="0"/>
      <p:bldP spid="15" grpId="0"/>
      <p:bldP spid="8" grpId="0" animBg="1"/>
      <p:bldP spid="9" grpId="0"/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72BF5C-203C-262B-60E6-5C822FD5BB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677B9C8-05EC-C44E-0CAE-758A5C662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noProof="0" dirty="0"/>
              <a:t>Models in Copilot Studio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97D4A0-317B-4FC8-AFDF-ABA4D31C27AA}"/>
              </a:ext>
            </a:extLst>
          </p:cNvPr>
          <p:cNvSpPr txBox="1"/>
          <p:nvPr/>
        </p:nvSpPr>
        <p:spPr>
          <a:xfrm>
            <a:off x="588963" y="1146504"/>
            <a:ext cx="9700604" cy="276999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pilot Studio offer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model choice flexibility consistently across knowledge, tools, &amp; prompt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4866806-9576-EF3D-93EC-E9A9D4102A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583406" y="1772417"/>
            <a:ext cx="11025188" cy="4181475"/>
          </a:xfrm>
          <a:prstGeom prst="roundRect">
            <a:avLst>
              <a:gd name="adj" fmla="val 7505"/>
            </a:avLst>
          </a:prstGeom>
          <a:noFill/>
          <a:ln w="9525">
            <a:solidFill>
              <a:schemeClr val="tx1">
                <a:alpha val="2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1823F75D-AB4C-D22A-E47A-F8DF4F23FF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720566" y="1938152"/>
            <a:ext cx="5306854" cy="3844290"/>
          </a:xfrm>
          <a:prstGeom prst="roundRect">
            <a:avLst>
              <a:gd name="adj" fmla="val 6046"/>
            </a:avLst>
          </a:prstGeom>
          <a:solidFill>
            <a:srgbClr val="194449">
              <a:alpha val="8000"/>
            </a:srgb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6432386-C475-8E44-8884-3EA4EE96C2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6164580" y="1938152"/>
            <a:ext cx="5306854" cy="3844290"/>
          </a:xfrm>
          <a:prstGeom prst="roundRect">
            <a:avLst>
              <a:gd name="adj" fmla="val 6822"/>
            </a:avLst>
          </a:prstGeom>
          <a:solidFill>
            <a:srgbClr val="194449">
              <a:alpha val="8000"/>
            </a:srgb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54D8695-0554-95BF-CF62-7C0FBFD8362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907435" y="2108012"/>
            <a:ext cx="2331065" cy="438483"/>
          </a:xfrm>
          <a:prstGeom prst="roundRect">
            <a:avLst>
              <a:gd name="adj" fmla="val 42392"/>
            </a:avLst>
          </a:prstGeom>
          <a:gradFill flip="none" rotWithShape="1"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158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" pitchFamily="34" charset="0"/>
              </a:rPr>
              <a:t>Managed Model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64523A1-4D96-0EC9-0A13-337BFA0F7BEB}"/>
              </a:ext>
            </a:extLst>
          </p:cNvPr>
          <p:cNvSpPr txBox="1"/>
          <p:nvPr/>
        </p:nvSpPr>
        <p:spPr>
          <a:xfrm>
            <a:off x="964660" y="2793006"/>
            <a:ext cx="5028545" cy="133113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2067B7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Best-in-class models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curation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for specific scenarios </a:t>
            </a:r>
          </a:p>
          <a:p>
            <a:pPr marL="285750" marR="0" lvl="0" indent="-2857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2067B7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No change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management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for new model releases</a:t>
            </a:r>
          </a:p>
          <a:p>
            <a:pPr marL="285750" marR="0" lvl="0" indent="-2857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2067B7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No need for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management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your own GPU infra</a:t>
            </a:r>
          </a:p>
          <a:p>
            <a:pPr marL="285750" marR="0" lvl="0" indent="-2857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2067B7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Ensure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Responsible AI control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apply by default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7D80B7EA-6951-80B5-1D77-C48D501001D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907434" y="4491843"/>
            <a:ext cx="1180602" cy="1070902"/>
          </a:xfrm>
          <a:prstGeom prst="roundRect">
            <a:avLst>
              <a:gd name="adj" fmla="val 10824"/>
            </a:avLst>
          </a:prstGeom>
          <a:solidFill>
            <a:schemeClr val="bg1"/>
          </a:solidFill>
          <a:ln w="9525">
            <a:noFill/>
            <a:prstDash val="sys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/>
              </a:rPr>
              <a:t>Default model </a:t>
            </a:r>
            <a:r>
              <a:rPr kumimoji="0" lang="en-US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/>
              </a:rPr>
              <a:t>1</a:t>
            </a:r>
            <a:endParaRPr kumimoji="0" lang="en-US" sz="16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31EEAF6-E99F-2B54-FDD4-BF04DAE884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2152680" y="4491843"/>
            <a:ext cx="1180602" cy="1070902"/>
          </a:xfrm>
          <a:prstGeom prst="roundRect">
            <a:avLst>
              <a:gd name="adj" fmla="val 10824"/>
            </a:avLst>
          </a:prstGeom>
          <a:solidFill>
            <a:schemeClr val="bg1"/>
          </a:solidFill>
          <a:ln w="9525">
            <a:noFill/>
            <a:prstDash val="sys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/>
              </a:rPr>
              <a:t>vNext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/>
              </a:rPr>
              <a:t> model </a:t>
            </a:r>
            <a:r>
              <a:rPr kumimoji="0" lang="en-US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/>
              </a:rPr>
              <a:t>2</a:t>
            </a:r>
            <a:endParaRPr kumimoji="0" lang="en-US" sz="16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62596F1-7416-43B0-0B52-5B92F6CC821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3397926" y="4491843"/>
            <a:ext cx="1180602" cy="1070902"/>
          </a:xfrm>
          <a:prstGeom prst="roundRect">
            <a:avLst>
              <a:gd name="adj" fmla="val 10824"/>
            </a:avLst>
          </a:prstGeom>
          <a:solidFill>
            <a:schemeClr val="bg1"/>
          </a:solidFill>
          <a:ln w="9525">
            <a:noFill/>
            <a:prstDash val="sys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/>
              </a:rPr>
              <a:t>Scenario specific models </a:t>
            </a:r>
            <a:r>
              <a:rPr kumimoji="0" lang="en-US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/>
              </a:rPr>
              <a:t>3, 4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61ECD1A-4491-7575-A0E8-644ABABBD23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4643173" y="4491843"/>
            <a:ext cx="1180602" cy="1070902"/>
          </a:xfrm>
          <a:prstGeom prst="roundRect">
            <a:avLst>
              <a:gd name="adj" fmla="val 10824"/>
            </a:avLst>
          </a:prstGeom>
          <a:solidFill>
            <a:schemeClr val="bg1"/>
          </a:solidFill>
          <a:ln w="9525">
            <a:noFill/>
            <a:prstDash val="sys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91440" rtlCol="0" anchor="ctr"/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Fine-Tuning service</a:t>
            </a:r>
            <a:endParaRPr kumimoji="0" lang="en-US" sz="16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DC4C8AB-28F7-E8BC-9AC2-A5FF4D06DE9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6356836" y="2108012"/>
            <a:ext cx="2945914" cy="438483"/>
          </a:xfrm>
          <a:prstGeom prst="roundRect">
            <a:avLst>
              <a:gd name="adj" fmla="val 42392"/>
            </a:avLst>
          </a:prstGeom>
          <a:gradFill flip="none" rotWithShape="1"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158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" pitchFamily="34" charset="0"/>
              </a:rPr>
              <a:t>Bring Your Own Model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0B71F65-8EB8-022C-C698-6904AACBBB7C}"/>
              </a:ext>
            </a:extLst>
          </p:cNvPr>
          <p:cNvSpPr txBox="1"/>
          <p:nvPr/>
        </p:nvSpPr>
        <p:spPr>
          <a:xfrm>
            <a:off x="6414062" y="2793006"/>
            <a:ext cx="3875505" cy="110030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2067B7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Enable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self-managed acces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to custom models from Azure AI Model Catalog </a:t>
            </a:r>
          </a:p>
          <a:p>
            <a:pPr marL="285750" marR="0" lvl="0" indent="-28575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2067B7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ontrol the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model instruction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with access to Copilot Studio tool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BFAF30A-9A96-4E70-D605-058579976F5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6356835" y="4491843"/>
            <a:ext cx="2415451" cy="1070902"/>
          </a:xfrm>
          <a:prstGeom prst="roundRect">
            <a:avLst>
              <a:gd name="adj" fmla="val 10824"/>
            </a:avLst>
          </a:prstGeom>
          <a:solidFill>
            <a:schemeClr val="bg1"/>
          </a:solidFill>
          <a:ln w="9525">
            <a:noFill/>
            <a:prstDash val="sys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91440" rtlCol="0" anchor="ctr"/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/>
              </a:rPr>
              <a:t>1,900+ models from Azure AI Foundry </a:t>
            </a:r>
            <a:r>
              <a:rPr kumimoji="0" lang="en-US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/>
              </a:rPr>
              <a:t>5</a:t>
            </a:r>
            <a:endParaRPr kumimoji="0" lang="en-US" sz="16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81853FDA-7622-8830-29B8-94C3A5A0F2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8909446" y="4491843"/>
            <a:ext cx="2415451" cy="1070902"/>
          </a:xfrm>
          <a:prstGeom prst="roundRect">
            <a:avLst>
              <a:gd name="adj" fmla="val 10824"/>
            </a:avLst>
          </a:prstGeom>
          <a:solidFill>
            <a:schemeClr val="bg1"/>
          </a:solidFill>
          <a:ln w="9525">
            <a:noFill/>
            <a:prstDash val="sysDash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91440" rtlCol="0" anchor="ctr"/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rPr>
              <a:t>Models fine-tuned using Az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1A42E9-A430-D686-3739-DD145F57A0B1}"/>
              </a:ext>
            </a:extLst>
          </p:cNvPr>
          <p:cNvSpPr txBox="1"/>
          <p:nvPr/>
        </p:nvSpPr>
        <p:spPr>
          <a:xfrm>
            <a:off x="588963" y="6564313"/>
            <a:ext cx="6442469" cy="10772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urrently GPT 4o | </a:t>
            </a:r>
            <a:r>
              <a:rPr kumimoji="0" lang="en-US" sz="7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urrently GPT 4.1 | </a:t>
            </a:r>
            <a:r>
              <a:rPr kumimoji="0" lang="en-US" sz="7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ke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reasoning, CUA,. Code-gen etc. | </a:t>
            </a:r>
            <a:r>
              <a:rPr kumimoji="0" lang="en-US" sz="7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urrently o1 &amp; o3-mini for reasoning | </a:t>
            </a:r>
            <a:r>
              <a:rPr kumimoji="0" lang="en-US" sz="7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5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aunching in response generation as preview</a:t>
            </a:r>
          </a:p>
        </p:txBody>
      </p:sp>
    </p:spTree>
    <p:extLst>
      <p:ext uri="{BB962C8B-B14F-4D97-AF65-F5344CB8AC3E}">
        <p14:creationId xmlns:p14="http://schemas.microsoft.com/office/powerpoint/2010/main" val="18603969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11" grpId="0" animBg="1"/>
      <p:bldP spid="49" grpId="0" animBg="1"/>
      <p:bldP spid="50" grpId="0" animBg="1"/>
      <p:bldP spid="7" grpId="0" animBg="1"/>
      <p:bldP spid="59" grpId="0"/>
      <p:bldP spid="74" grpId="0" animBg="1"/>
      <p:bldP spid="14" grpId="0" animBg="1"/>
      <p:bldP spid="15" grpId="0" animBg="1"/>
      <p:bldP spid="16" grpId="0" animBg="1"/>
      <p:bldP spid="10" grpId="0" animBg="1"/>
      <p:bldP spid="87" grpId="0"/>
      <p:bldP spid="17" grpId="0" animBg="1"/>
      <p:bldP spid="18" grpId="0" animBg="1"/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42E390-4FBD-DFAE-618A-693C83DF2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256" name="Straight Arrow Connector 8255">
            <a:extLst>
              <a:ext uri="{FF2B5EF4-FFF2-40B4-BE49-F238E27FC236}">
                <a16:creationId xmlns:a16="http://schemas.microsoft.com/office/drawing/2014/main" id="{E25736DC-CCC2-B677-37CC-98E5220EB8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7381876" y="2335361"/>
            <a:ext cx="1021279" cy="0"/>
          </a:xfrm>
          <a:prstGeom prst="straightConnector1">
            <a:avLst/>
          </a:pr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4" name="Straight Arrow Connector 8253">
            <a:extLst>
              <a:ext uri="{FF2B5EF4-FFF2-40B4-BE49-F238E27FC236}">
                <a16:creationId xmlns:a16="http://schemas.microsoft.com/office/drawing/2014/main" id="{0D98674A-5474-8AF3-8ABD-145AD4B904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360655" y="2335361"/>
            <a:ext cx="1021279" cy="0"/>
          </a:xfrm>
          <a:prstGeom prst="straightConnector1">
            <a:avLst/>
          </a:pr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9" name="Straight Arrow Connector 8258">
            <a:extLst>
              <a:ext uri="{FF2B5EF4-FFF2-40B4-BE49-F238E27FC236}">
                <a16:creationId xmlns:a16="http://schemas.microsoft.com/office/drawing/2014/main" id="{CB5DEA65-052F-CC19-B473-E4B48741A8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8242" idx="0"/>
          </p:cNvCxnSpPr>
          <p:nvPr/>
        </p:nvCxnSpPr>
        <p:spPr>
          <a:xfrm>
            <a:off x="8928097" y="2814109"/>
            <a:ext cx="2" cy="930803"/>
          </a:xfrm>
          <a:prstGeom prst="straightConnector1">
            <a:avLst/>
          </a:prstGeom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arrow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DB781A5-64E1-50E1-6282-9B54D9F4A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IN" dirty="0"/>
              <a:t>Bring your own model</a:t>
            </a:r>
            <a:endParaRPr lang="en-US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A5D2A15-E0A9-AC10-277F-3D7B119A5C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rot="10800000" flipH="1" flipV="1">
            <a:off x="584199" y="1436688"/>
            <a:ext cx="5375275" cy="4832349"/>
          </a:xfrm>
          <a:prstGeom prst="roundRect">
            <a:avLst>
              <a:gd name="adj" fmla="val 7607"/>
            </a:avLst>
          </a:prstGeom>
          <a:gradFill>
            <a:gsLst>
              <a:gs pos="0">
                <a:srgbClr val="7656AD"/>
              </a:gs>
              <a:gs pos="80000">
                <a:srgbClr val="0A6BBA"/>
              </a:gs>
            </a:gsLst>
            <a:lin ang="10800000" scaled="1"/>
          </a:gra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98DE9AB-C67F-70F7-1AD6-ACB308C84E23}"/>
              </a:ext>
            </a:extLst>
          </p:cNvPr>
          <p:cNvSpPr/>
          <p:nvPr/>
        </p:nvSpPr>
        <p:spPr bwMode="auto">
          <a:xfrm>
            <a:off x="925479" y="1616527"/>
            <a:ext cx="4625176" cy="996833"/>
          </a:xfrm>
          <a:prstGeom prst="roundRect">
            <a:avLst>
              <a:gd name="adj" fmla="val 0"/>
            </a:avLst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Transform your business with Azure AI Foundry Models in Copilot Studio—unlocking smarter, faster, and more efficient solutions</a:t>
            </a:r>
          </a:p>
        </p:txBody>
      </p:sp>
      <p:sp>
        <p:nvSpPr>
          <p:cNvPr id="8198" name="Rectangle: Rounded Corners 8197">
            <a:extLst>
              <a:ext uri="{FF2B5EF4-FFF2-40B4-BE49-F238E27FC236}">
                <a16:creationId xmlns:a16="http://schemas.microsoft.com/office/drawing/2014/main" id="{00242DB2-DB6A-9E17-0727-928A222ED997}"/>
              </a:ext>
            </a:extLst>
          </p:cNvPr>
          <p:cNvSpPr>
            <a:spLocks/>
          </p:cNvSpPr>
          <p:nvPr/>
        </p:nvSpPr>
        <p:spPr bwMode="auto">
          <a:xfrm>
            <a:off x="925479" y="2963725"/>
            <a:ext cx="1411465" cy="1434267"/>
          </a:xfrm>
          <a:prstGeom prst="roundRect">
            <a:avLst>
              <a:gd name="adj" fmla="val 15528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864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ccess to Azure AI Foundry models</a:t>
            </a:r>
          </a:p>
        </p:txBody>
      </p:sp>
      <p:sp>
        <p:nvSpPr>
          <p:cNvPr id="8294" name="Graphic 18">
            <a:extLst>
              <a:ext uri="{FF2B5EF4-FFF2-40B4-BE49-F238E27FC236}">
                <a16:creationId xmlns:a16="http://schemas.microsoft.com/office/drawing/2014/main" id="{9B5E08CF-0872-2B37-7E36-C6D97B58C3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448415" y="3100867"/>
            <a:ext cx="365592" cy="363774"/>
          </a:xfrm>
          <a:custGeom>
            <a:avLst/>
            <a:gdLst>
              <a:gd name="connsiteX0" fmla="*/ 66675 w 191452"/>
              <a:gd name="connsiteY0" fmla="*/ 62389 h 190499"/>
              <a:gd name="connsiteX1" fmla="*/ 129064 w 191452"/>
              <a:gd name="connsiteY1" fmla="*/ 0 h 190499"/>
              <a:gd name="connsiteX2" fmla="*/ 191453 w 191452"/>
              <a:gd name="connsiteY2" fmla="*/ 61436 h 190499"/>
              <a:gd name="connsiteX3" fmla="*/ 129064 w 191452"/>
              <a:gd name="connsiteY3" fmla="*/ 123825 h 190499"/>
              <a:gd name="connsiteX4" fmla="*/ 114281 w 191452"/>
              <a:gd name="connsiteY4" fmla="*/ 121882 h 190499"/>
              <a:gd name="connsiteX5" fmla="*/ 102394 w 191452"/>
              <a:gd name="connsiteY5" fmla="*/ 133350 h 190499"/>
              <a:gd name="connsiteX6" fmla="*/ 85725 w 191452"/>
              <a:gd name="connsiteY6" fmla="*/ 133350 h 190499"/>
              <a:gd name="connsiteX7" fmla="*/ 85725 w 191452"/>
              <a:gd name="connsiteY7" fmla="*/ 150019 h 190499"/>
              <a:gd name="connsiteX8" fmla="*/ 73819 w 191452"/>
              <a:gd name="connsiteY8" fmla="*/ 161925 h 190499"/>
              <a:gd name="connsiteX9" fmla="*/ 57150 w 191452"/>
              <a:gd name="connsiteY9" fmla="*/ 161925 h 190499"/>
              <a:gd name="connsiteX10" fmla="*/ 57150 w 191452"/>
              <a:gd name="connsiteY10" fmla="*/ 173831 h 190499"/>
              <a:gd name="connsiteX11" fmla="*/ 40481 w 191452"/>
              <a:gd name="connsiteY11" fmla="*/ 190500 h 190499"/>
              <a:gd name="connsiteX12" fmla="*/ 16669 w 191452"/>
              <a:gd name="connsiteY12" fmla="*/ 190500 h 190499"/>
              <a:gd name="connsiteX13" fmla="*/ 0 w 191452"/>
              <a:gd name="connsiteY13" fmla="*/ 173831 h 190499"/>
              <a:gd name="connsiteX14" fmla="*/ 0 w 191452"/>
              <a:gd name="connsiteY14" fmla="*/ 153143 h 190499"/>
              <a:gd name="connsiteX15" fmla="*/ 7677 w 191452"/>
              <a:gd name="connsiteY15" fmla="*/ 134626 h 190499"/>
              <a:gd name="connsiteX16" fmla="*/ 67056 w 191452"/>
              <a:gd name="connsiteY16" fmla="*/ 75228 h 190499"/>
              <a:gd name="connsiteX17" fmla="*/ 67723 w 191452"/>
              <a:gd name="connsiteY17" fmla="*/ 72904 h 190499"/>
              <a:gd name="connsiteX18" fmla="*/ 66675 w 191452"/>
              <a:gd name="connsiteY18" fmla="*/ 62389 h 190499"/>
              <a:gd name="connsiteX19" fmla="*/ 155258 w 191452"/>
              <a:gd name="connsiteY19" fmla="*/ 47149 h 190499"/>
              <a:gd name="connsiteX20" fmla="*/ 143351 w 191452"/>
              <a:gd name="connsiteY20" fmla="*/ 35243 h 190499"/>
              <a:gd name="connsiteX21" fmla="*/ 131445 w 191452"/>
              <a:gd name="connsiteY21" fmla="*/ 47149 h 190499"/>
              <a:gd name="connsiteX22" fmla="*/ 143351 w 191452"/>
              <a:gd name="connsiteY22" fmla="*/ 59055 h 190499"/>
              <a:gd name="connsiteX23" fmla="*/ 155258 w 191452"/>
              <a:gd name="connsiteY23" fmla="*/ 47149 h 190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91452" h="190499">
                <a:moveTo>
                  <a:pt x="66675" y="62389"/>
                </a:moveTo>
                <a:cubicBezTo>
                  <a:pt x="66696" y="27941"/>
                  <a:pt x="94616" y="21"/>
                  <a:pt x="129064" y="0"/>
                </a:cubicBezTo>
                <a:cubicBezTo>
                  <a:pt x="163316" y="0"/>
                  <a:pt x="191453" y="26851"/>
                  <a:pt x="191453" y="61436"/>
                </a:cubicBezTo>
                <a:cubicBezTo>
                  <a:pt x="191432" y="95884"/>
                  <a:pt x="163512" y="123804"/>
                  <a:pt x="129064" y="123825"/>
                </a:cubicBezTo>
                <a:cubicBezTo>
                  <a:pt x="124006" y="123825"/>
                  <a:pt x="119015" y="123101"/>
                  <a:pt x="114281" y="121882"/>
                </a:cubicBezTo>
                <a:cubicBezTo>
                  <a:pt x="114046" y="128279"/>
                  <a:pt x="108795" y="133344"/>
                  <a:pt x="102394" y="133350"/>
                </a:cubicBezTo>
                <a:lnTo>
                  <a:pt x="85725" y="133350"/>
                </a:lnTo>
                <a:lnTo>
                  <a:pt x="85725" y="150019"/>
                </a:lnTo>
                <a:cubicBezTo>
                  <a:pt x="85725" y="156591"/>
                  <a:pt x="80391" y="161925"/>
                  <a:pt x="73819" y="161925"/>
                </a:cubicBezTo>
                <a:lnTo>
                  <a:pt x="57150" y="161925"/>
                </a:lnTo>
                <a:lnTo>
                  <a:pt x="57150" y="173831"/>
                </a:lnTo>
                <a:cubicBezTo>
                  <a:pt x="57150" y="183037"/>
                  <a:pt x="49687" y="190500"/>
                  <a:pt x="40481" y="190500"/>
                </a:cubicBezTo>
                <a:lnTo>
                  <a:pt x="16669" y="190500"/>
                </a:lnTo>
                <a:cubicBezTo>
                  <a:pt x="7463" y="190500"/>
                  <a:pt x="0" y="183037"/>
                  <a:pt x="0" y="173831"/>
                </a:cubicBezTo>
                <a:lnTo>
                  <a:pt x="0" y="153143"/>
                </a:lnTo>
                <a:cubicBezTo>
                  <a:pt x="0" y="146190"/>
                  <a:pt x="2762" y="139532"/>
                  <a:pt x="7677" y="134626"/>
                </a:cubicBezTo>
                <a:lnTo>
                  <a:pt x="67056" y="75228"/>
                </a:lnTo>
                <a:cubicBezTo>
                  <a:pt x="67644" y="74609"/>
                  <a:pt x="67893" y="73741"/>
                  <a:pt x="67723" y="72904"/>
                </a:cubicBezTo>
                <a:cubicBezTo>
                  <a:pt x="67069" y="69436"/>
                  <a:pt x="66719" y="65918"/>
                  <a:pt x="66675" y="62389"/>
                </a:cubicBezTo>
                <a:close/>
                <a:moveTo>
                  <a:pt x="155258" y="47149"/>
                </a:moveTo>
                <a:cubicBezTo>
                  <a:pt x="155258" y="40573"/>
                  <a:pt x="149927" y="35243"/>
                  <a:pt x="143351" y="35243"/>
                </a:cubicBezTo>
                <a:cubicBezTo>
                  <a:pt x="136775" y="35243"/>
                  <a:pt x="131445" y="40573"/>
                  <a:pt x="131445" y="47149"/>
                </a:cubicBezTo>
                <a:cubicBezTo>
                  <a:pt x="131445" y="53724"/>
                  <a:pt x="136775" y="59055"/>
                  <a:pt x="143351" y="59055"/>
                </a:cubicBezTo>
                <a:cubicBezTo>
                  <a:pt x="149927" y="59055"/>
                  <a:pt x="155258" y="53724"/>
                  <a:pt x="155258" y="47149"/>
                </a:cubicBezTo>
                <a:close/>
              </a:path>
            </a:pathLst>
          </a:custGeom>
          <a:gradFill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</a:gradFill>
          <a:ln w="1508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28BF35C-2C2C-F037-A666-71FE81EBF11B}"/>
              </a:ext>
            </a:extLst>
          </p:cNvPr>
          <p:cNvSpPr>
            <a:spLocks/>
          </p:cNvSpPr>
          <p:nvPr/>
        </p:nvSpPr>
        <p:spPr bwMode="auto">
          <a:xfrm>
            <a:off x="2566103" y="2963725"/>
            <a:ext cx="1411465" cy="1434267"/>
          </a:xfrm>
          <a:prstGeom prst="roundRect">
            <a:avLst>
              <a:gd name="adj" fmla="val 15528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864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mproving Efficiency</a:t>
            </a:r>
          </a:p>
        </p:txBody>
      </p:sp>
      <p:sp>
        <p:nvSpPr>
          <p:cNvPr id="25" name="Graphic 41" descr="Icon of a Speedometer">
            <a:extLst>
              <a:ext uri="{FF2B5EF4-FFF2-40B4-BE49-F238E27FC236}">
                <a16:creationId xmlns:a16="http://schemas.microsoft.com/office/drawing/2014/main" id="{E7C90D8B-3D96-13A6-73B4-0FBE7B19B8CE}"/>
              </a:ext>
            </a:extLst>
          </p:cNvPr>
          <p:cNvSpPr>
            <a:spLocks/>
          </p:cNvSpPr>
          <p:nvPr/>
        </p:nvSpPr>
        <p:spPr>
          <a:xfrm>
            <a:off x="3052110" y="3089668"/>
            <a:ext cx="429092" cy="386172"/>
          </a:xfrm>
          <a:custGeom>
            <a:avLst/>
            <a:gdLst>
              <a:gd name="connsiteX0" fmla="*/ 787668 w 1750373"/>
              <a:gd name="connsiteY0" fmla="*/ 136372 h 1487820"/>
              <a:gd name="connsiteX1" fmla="*/ 787668 w 1750373"/>
              <a:gd name="connsiteY1" fmla="*/ 262556 h 1487820"/>
              <a:gd name="connsiteX2" fmla="*/ 875187 w 1750373"/>
              <a:gd name="connsiteY2" fmla="*/ 350075 h 1487820"/>
              <a:gd name="connsiteX3" fmla="*/ 962705 w 1750373"/>
              <a:gd name="connsiteY3" fmla="*/ 262556 h 1487820"/>
              <a:gd name="connsiteX4" fmla="*/ 962705 w 1750373"/>
              <a:gd name="connsiteY4" fmla="*/ 136372 h 1487820"/>
              <a:gd name="connsiteX5" fmla="*/ 1614002 w 1750373"/>
              <a:gd name="connsiteY5" fmla="*/ 787668 h 1487820"/>
              <a:gd name="connsiteX6" fmla="*/ 1487817 w 1750373"/>
              <a:gd name="connsiteY6" fmla="*/ 787668 h 1487820"/>
              <a:gd name="connsiteX7" fmla="*/ 1400299 w 1750373"/>
              <a:gd name="connsiteY7" fmla="*/ 875187 h 1487820"/>
              <a:gd name="connsiteX8" fmla="*/ 1487817 w 1750373"/>
              <a:gd name="connsiteY8" fmla="*/ 962705 h 1487820"/>
              <a:gd name="connsiteX9" fmla="*/ 1613766 w 1750373"/>
              <a:gd name="connsiteY9" fmla="*/ 962705 h 1487820"/>
              <a:gd name="connsiteX10" fmla="*/ 1417767 w 1750373"/>
              <a:gd name="connsiteY10" fmla="*/ 1377588 h 1487820"/>
              <a:gd name="connsiteX11" fmla="*/ 1421347 w 1750373"/>
              <a:gd name="connsiteY11" fmla="*/ 1470349 h 1487820"/>
              <a:gd name="connsiteX12" fmla="*/ 1514108 w 1750373"/>
              <a:gd name="connsiteY12" fmla="*/ 1466769 h 1487820"/>
              <a:gd name="connsiteX13" fmla="*/ 1750373 w 1750373"/>
              <a:gd name="connsiteY13" fmla="*/ 875187 h 1487820"/>
              <a:gd name="connsiteX14" fmla="*/ 875187 w 1750373"/>
              <a:gd name="connsiteY14" fmla="*/ 0 h 1487820"/>
              <a:gd name="connsiteX15" fmla="*/ 0 w 1750373"/>
              <a:gd name="connsiteY15" fmla="*/ 875187 h 1487820"/>
              <a:gd name="connsiteX16" fmla="*/ 236266 w 1750373"/>
              <a:gd name="connsiteY16" fmla="*/ 1466769 h 1487820"/>
              <a:gd name="connsiteX17" fmla="*/ 329026 w 1750373"/>
              <a:gd name="connsiteY17" fmla="*/ 1470349 h 1487820"/>
              <a:gd name="connsiteX18" fmla="*/ 332605 w 1750373"/>
              <a:gd name="connsiteY18" fmla="*/ 1377588 h 1487820"/>
              <a:gd name="connsiteX19" fmla="*/ 136607 w 1750373"/>
              <a:gd name="connsiteY19" fmla="*/ 962705 h 1487820"/>
              <a:gd name="connsiteX20" fmla="*/ 262556 w 1750373"/>
              <a:gd name="connsiteY20" fmla="*/ 962705 h 1487820"/>
              <a:gd name="connsiteX21" fmla="*/ 350075 w 1750373"/>
              <a:gd name="connsiteY21" fmla="*/ 875187 h 1487820"/>
              <a:gd name="connsiteX22" fmla="*/ 262556 w 1750373"/>
              <a:gd name="connsiteY22" fmla="*/ 787668 h 1487820"/>
              <a:gd name="connsiteX23" fmla="*/ 136372 w 1750373"/>
              <a:gd name="connsiteY23" fmla="*/ 787668 h 1487820"/>
              <a:gd name="connsiteX24" fmla="*/ 290909 w 1750373"/>
              <a:gd name="connsiteY24" fmla="*/ 414680 h 1487820"/>
              <a:gd name="connsiteX25" fmla="*/ 375708 w 1750373"/>
              <a:gd name="connsiteY25" fmla="*/ 499479 h 1487820"/>
              <a:gd name="connsiteX26" fmla="*/ 499479 w 1750373"/>
              <a:gd name="connsiteY26" fmla="*/ 499479 h 1487820"/>
              <a:gd name="connsiteX27" fmla="*/ 499479 w 1750373"/>
              <a:gd name="connsiteY27" fmla="*/ 375708 h 1487820"/>
              <a:gd name="connsiteX28" fmla="*/ 414680 w 1750373"/>
              <a:gd name="connsiteY28" fmla="*/ 290909 h 1487820"/>
              <a:gd name="connsiteX29" fmla="*/ 787668 w 1750373"/>
              <a:gd name="connsiteY29" fmla="*/ 136372 h 1487820"/>
              <a:gd name="connsiteX30" fmla="*/ 1291679 w 1750373"/>
              <a:gd name="connsiteY30" fmla="*/ 405569 h 1487820"/>
              <a:gd name="connsiteX31" fmla="*/ 1221025 w 1750373"/>
              <a:gd name="connsiteY31" fmla="*/ 406907 h 1487820"/>
              <a:gd name="connsiteX32" fmla="*/ 1202016 w 1750373"/>
              <a:gd name="connsiteY32" fmla="*/ 422861 h 1487820"/>
              <a:gd name="connsiteX33" fmla="*/ 1151641 w 1750373"/>
              <a:gd name="connsiteY33" fmla="*/ 465257 h 1487820"/>
              <a:gd name="connsiteX34" fmla="*/ 996190 w 1750373"/>
              <a:gd name="connsiteY34" fmla="*/ 597128 h 1487820"/>
              <a:gd name="connsiteX35" fmla="*/ 833151 w 1750373"/>
              <a:gd name="connsiteY35" fmla="*/ 738211 h 1487820"/>
              <a:gd name="connsiteX36" fmla="*/ 772877 w 1750373"/>
              <a:gd name="connsiteY36" fmla="*/ 792534 h 1487820"/>
              <a:gd name="connsiteX37" fmla="*/ 736137 w 1750373"/>
              <a:gd name="connsiteY37" fmla="*/ 829563 h 1487820"/>
              <a:gd name="connsiteX38" fmla="*/ 763460 w 1750373"/>
              <a:gd name="connsiteY38" fmla="*/ 1058775 h 1487820"/>
              <a:gd name="connsiteX39" fmla="*/ 997730 w 1750373"/>
              <a:gd name="connsiteY39" fmla="*/ 1032046 h 1487820"/>
              <a:gd name="connsiteX40" fmla="*/ 1026113 w 1750373"/>
              <a:gd name="connsiteY40" fmla="*/ 988550 h 1487820"/>
              <a:gd name="connsiteX41" fmla="*/ 1066284 w 1750373"/>
              <a:gd name="connsiteY41" fmla="*/ 918657 h 1487820"/>
              <a:gd name="connsiteX42" fmla="*/ 1169118 w 1750373"/>
              <a:gd name="connsiteY42" fmla="*/ 730973 h 1487820"/>
              <a:gd name="connsiteX43" fmla="*/ 1264522 w 1750373"/>
              <a:gd name="connsiteY43" fmla="*/ 552626 h 1487820"/>
              <a:gd name="connsiteX44" fmla="*/ 1295101 w 1750373"/>
              <a:gd name="connsiteY44" fmla="*/ 494915 h 1487820"/>
              <a:gd name="connsiteX45" fmla="*/ 1306601 w 1750373"/>
              <a:gd name="connsiteY45" fmla="*/ 473141 h 1487820"/>
              <a:gd name="connsiteX46" fmla="*/ 1291679 w 1750373"/>
              <a:gd name="connsiteY46" fmla="*/ 405569 h 1487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750373" h="1487820">
                <a:moveTo>
                  <a:pt x="787668" y="136372"/>
                </a:moveTo>
                <a:lnTo>
                  <a:pt x="787668" y="262556"/>
                </a:lnTo>
                <a:cubicBezTo>
                  <a:pt x="787668" y="310891"/>
                  <a:pt x="826850" y="350075"/>
                  <a:pt x="875187" y="350075"/>
                </a:cubicBezTo>
                <a:cubicBezTo>
                  <a:pt x="923523" y="350075"/>
                  <a:pt x="962705" y="310891"/>
                  <a:pt x="962705" y="262556"/>
                </a:cubicBezTo>
                <a:lnTo>
                  <a:pt x="962705" y="136372"/>
                </a:lnTo>
                <a:cubicBezTo>
                  <a:pt x="1303608" y="176323"/>
                  <a:pt x="1574050" y="446767"/>
                  <a:pt x="1614002" y="787668"/>
                </a:cubicBezTo>
                <a:lnTo>
                  <a:pt x="1487817" y="787668"/>
                </a:lnTo>
                <a:cubicBezTo>
                  <a:pt x="1439481" y="787668"/>
                  <a:pt x="1400299" y="826850"/>
                  <a:pt x="1400299" y="875187"/>
                </a:cubicBezTo>
                <a:cubicBezTo>
                  <a:pt x="1400299" y="923523"/>
                  <a:pt x="1439481" y="962705"/>
                  <a:pt x="1487817" y="962705"/>
                </a:cubicBezTo>
                <a:lnTo>
                  <a:pt x="1613766" y="962705"/>
                </a:lnTo>
                <a:cubicBezTo>
                  <a:pt x="1594266" y="1121736"/>
                  <a:pt x="1522457" y="1264496"/>
                  <a:pt x="1417767" y="1377588"/>
                </a:cubicBezTo>
                <a:cubicBezTo>
                  <a:pt x="1393140" y="1404193"/>
                  <a:pt x="1394741" y="1445721"/>
                  <a:pt x="1421347" y="1470349"/>
                </a:cubicBezTo>
                <a:cubicBezTo>
                  <a:pt x="1447953" y="1494976"/>
                  <a:pt x="1489480" y="1493375"/>
                  <a:pt x="1514108" y="1466769"/>
                </a:cubicBezTo>
                <a:cubicBezTo>
                  <a:pt x="1657831" y="1311502"/>
                  <a:pt x="1750373" y="1105588"/>
                  <a:pt x="1750373" y="875187"/>
                </a:cubicBezTo>
                <a:cubicBezTo>
                  <a:pt x="1750373" y="391834"/>
                  <a:pt x="1358535" y="0"/>
                  <a:pt x="875187" y="0"/>
                </a:cubicBezTo>
                <a:cubicBezTo>
                  <a:pt x="391834" y="0"/>
                  <a:pt x="0" y="391834"/>
                  <a:pt x="0" y="875187"/>
                </a:cubicBezTo>
                <a:cubicBezTo>
                  <a:pt x="0" y="1105588"/>
                  <a:pt x="92538" y="1311502"/>
                  <a:pt x="236266" y="1466769"/>
                </a:cubicBezTo>
                <a:cubicBezTo>
                  <a:pt x="260892" y="1493375"/>
                  <a:pt x="302422" y="1494976"/>
                  <a:pt x="329026" y="1470349"/>
                </a:cubicBezTo>
                <a:cubicBezTo>
                  <a:pt x="355628" y="1445721"/>
                  <a:pt x="357231" y="1404193"/>
                  <a:pt x="332605" y="1377588"/>
                </a:cubicBezTo>
                <a:cubicBezTo>
                  <a:pt x="227917" y="1264496"/>
                  <a:pt x="156104" y="1121736"/>
                  <a:pt x="136607" y="962705"/>
                </a:cubicBezTo>
                <a:lnTo>
                  <a:pt x="262556" y="962705"/>
                </a:lnTo>
                <a:cubicBezTo>
                  <a:pt x="310891" y="962705"/>
                  <a:pt x="350075" y="923523"/>
                  <a:pt x="350075" y="875187"/>
                </a:cubicBezTo>
                <a:cubicBezTo>
                  <a:pt x="350075" y="826850"/>
                  <a:pt x="310891" y="787668"/>
                  <a:pt x="262556" y="787668"/>
                </a:cubicBezTo>
                <a:lnTo>
                  <a:pt x="136372" y="787668"/>
                </a:lnTo>
                <a:cubicBezTo>
                  <a:pt x="152765" y="647791"/>
                  <a:pt x="207962" y="519777"/>
                  <a:pt x="290909" y="414680"/>
                </a:cubicBezTo>
                <a:lnTo>
                  <a:pt x="375708" y="499479"/>
                </a:lnTo>
                <a:cubicBezTo>
                  <a:pt x="409887" y="533656"/>
                  <a:pt x="465300" y="533656"/>
                  <a:pt x="499479" y="499479"/>
                </a:cubicBezTo>
                <a:cubicBezTo>
                  <a:pt x="533656" y="465300"/>
                  <a:pt x="533656" y="409887"/>
                  <a:pt x="499479" y="375708"/>
                </a:cubicBezTo>
                <a:lnTo>
                  <a:pt x="414680" y="290909"/>
                </a:lnTo>
                <a:cubicBezTo>
                  <a:pt x="519777" y="207962"/>
                  <a:pt x="647791" y="152765"/>
                  <a:pt x="787668" y="136372"/>
                </a:cubicBezTo>
                <a:close/>
                <a:moveTo>
                  <a:pt x="1291679" y="405569"/>
                </a:moveTo>
                <a:cubicBezTo>
                  <a:pt x="1270832" y="389433"/>
                  <a:pt x="1241225" y="389993"/>
                  <a:pt x="1221025" y="406907"/>
                </a:cubicBezTo>
                <a:lnTo>
                  <a:pt x="1202016" y="422861"/>
                </a:lnTo>
                <a:cubicBezTo>
                  <a:pt x="1189904" y="433034"/>
                  <a:pt x="1172566" y="447614"/>
                  <a:pt x="1151641" y="465257"/>
                </a:cubicBezTo>
                <a:cubicBezTo>
                  <a:pt x="1109807" y="500536"/>
                  <a:pt x="1053602" y="548085"/>
                  <a:pt x="996190" y="597128"/>
                </a:cubicBezTo>
                <a:cubicBezTo>
                  <a:pt x="938813" y="646135"/>
                  <a:pt x="880044" y="696783"/>
                  <a:pt x="833151" y="738211"/>
                </a:cubicBezTo>
                <a:cubicBezTo>
                  <a:pt x="809731" y="758901"/>
                  <a:pt x="789042" y="777498"/>
                  <a:pt x="772877" y="792534"/>
                </a:cubicBezTo>
                <a:cubicBezTo>
                  <a:pt x="757850" y="806520"/>
                  <a:pt x="743786" y="820111"/>
                  <a:pt x="736137" y="829563"/>
                </a:cubicBezTo>
                <a:cubicBezTo>
                  <a:pt x="678990" y="900243"/>
                  <a:pt x="691221" y="1002859"/>
                  <a:pt x="763460" y="1058775"/>
                </a:cubicBezTo>
                <a:cubicBezTo>
                  <a:pt x="835698" y="1114682"/>
                  <a:pt x="940581" y="1102718"/>
                  <a:pt x="997730" y="1032046"/>
                </a:cubicBezTo>
                <a:cubicBezTo>
                  <a:pt x="1005379" y="1022586"/>
                  <a:pt x="1015663" y="1006071"/>
                  <a:pt x="1026113" y="988550"/>
                </a:cubicBezTo>
                <a:cubicBezTo>
                  <a:pt x="1037350" y="969698"/>
                  <a:pt x="1051091" y="945718"/>
                  <a:pt x="1066284" y="918657"/>
                </a:cubicBezTo>
                <a:cubicBezTo>
                  <a:pt x="1096705" y="864483"/>
                  <a:pt x="1133568" y="796884"/>
                  <a:pt x="1169118" y="730973"/>
                </a:cubicBezTo>
                <a:cubicBezTo>
                  <a:pt x="1204686" y="665027"/>
                  <a:pt x="1239054" y="600576"/>
                  <a:pt x="1264522" y="552626"/>
                </a:cubicBezTo>
                <a:cubicBezTo>
                  <a:pt x="1277256" y="528647"/>
                  <a:pt x="1287767" y="508785"/>
                  <a:pt x="1295101" y="494915"/>
                </a:cubicBezTo>
                <a:lnTo>
                  <a:pt x="1306601" y="473141"/>
                </a:lnTo>
                <a:cubicBezTo>
                  <a:pt x="1318775" y="450024"/>
                  <a:pt x="1312526" y="421706"/>
                  <a:pt x="1291679" y="405569"/>
                </a:cubicBezTo>
                <a:close/>
              </a:path>
            </a:pathLst>
          </a:custGeom>
          <a:gradFill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</a:gradFill>
          <a:ln w="1508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3C5AA88-83BC-7542-A573-00EFDA269BA0}"/>
              </a:ext>
            </a:extLst>
          </p:cNvPr>
          <p:cNvSpPr>
            <a:spLocks/>
          </p:cNvSpPr>
          <p:nvPr/>
        </p:nvSpPr>
        <p:spPr bwMode="auto">
          <a:xfrm>
            <a:off x="4206728" y="2963725"/>
            <a:ext cx="1411465" cy="1434267"/>
          </a:xfrm>
          <a:prstGeom prst="roundRect">
            <a:avLst>
              <a:gd name="adj" fmla="val 15528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864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mproving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Quality</a:t>
            </a:r>
          </a:p>
        </p:txBody>
      </p:sp>
      <p:sp>
        <p:nvSpPr>
          <p:cNvPr id="26" name="Graphic 61" descr="Icon of sparkles">
            <a:extLst>
              <a:ext uri="{FF2B5EF4-FFF2-40B4-BE49-F238E27FC236}">
                <a16:creationId xmlns:a16="http://schemas.microsoft.com/office/drawing/2014/main" id="{E54E6B78-4F72-C255-67D0-DAF052D0B108}"/>
              </a:ext>
            </a:extLst>
          </p:cNvPr>
          <p:cNvSpPr>
            <a:spLocks noChangeAspect="1"/>
          </p:cNvSpPr>
          <p:nvPr/>
        </p:nvSpPr>
        <p:spPr>
          <a:xfrm>
            <a:off x="4683111" y="3053461"/>
            <a:ext cx="458698" cy="458586"/>
          </a:xfrm>
          <a:custGeom>
            <a:avLst/>
            <a:gdLst>
              <a:gd name="connsiteX0" fmla="*/ 233977 w 743134"/>
              <a:gd name="connsiteY0" fmla="*/ 525730 h 742953"/>
              <a:gd name="connsiteX1" fmla="*/ 268483 w 743134"/>
              <a:gd name="connsiteY1" fmla="*/ 536626 h 742953"/>
              <a:gd name="connsiteX2" fmla="*/ 268483 w 743134"/>
              <a:gd name="connsiteY2" fmla="*/ 536461 h 742953"/>
              <a:gd name="connsiteX3" fmla="*/ 323255 w 743134"/>
              <a:gd name="connsiteY3" fmla="*/ 500469 h 742953"/>
              <a:gd name="connsiteX4" fmla="*/ 348557 w 743134"/>
              <a:gd name="connsiteY4" fmla="*/ 423533 h 742953"/>
              <a:gd name="connsiteX5" fmla="*/ 423554 w 743134"/>
              <a:gd name="connsiteY5" fmla="*/ 348742 h 742953"/>
              <a:gd name="connsiteX6" fmla="*/ 496940 w 743134"/>
              <a:gd name="connsiteY6" fmla="*/ 324885 h 742953"/>
              <a:gd name="connsiteX7" fmla="*/ 533390 w 743134"/>
              <a:gd name="connsiteY7" fmla="*/ 248950 h 742953"/>
              <a:gd name="connsiteX8" fmla="*/ 494794 w 743134"/>
              <a:gd name="connsiteY8" fmla="*/ 211792 h 742953"/>
              <a:gd name="connsiteX9" fmla="*/ 422357 w 743134"/>
              <a:gd name="connsiteY9" fmla="*/ 188265 h 742953"/>
              <a:gd name="connsiteX10" fmla="*/ 347154 w 743134"/>
              <a:gd name="connsiteY10" fmla="*/ 113021 h 742953"/>
              <a:gd name="connsiteX11" fmla="*/ 323297 w 743134"/>
              <a:gd name="connsiteY11" fmla="*/ 39675 h 742953"/>
              <a:gd name="connsiteX12" fmla="*/ 247048 w 743134"/>
              <a:gd name="connsiteY12" fmla="*/ 3476 h 742953"/>
              <a:gd name="connsiteX13" fmla="*/ 210533 w 743134"/>
              <a:gd name="connsiteY13" fmla="*/ 40583 h 742953"/>
              <a:gd name="connsiteX14" fmla="*/ 186470 w 743134"/>
              <a:gd name="connsiteY14" fmla="*/ 114548 h 742953"/>
              <a:gd name="connsiteX15" fmla="*/ 113413 w 743134"/>
              <a:gd name="connsiteY15" fmla="*/ 188265 h 742953"/>
              <a:gd name="connsiteX16" fmla="*/ 40068 w 743134"/>
              <a:gd name="connsiteY16" fmla="*/ 211833 h 742953"/>
              <a:gd name="connsiteX17" fmla="*/ 3314 w 743134"/>
              <a:gd name="connsiteY17" fmla="*/ 287687 h 742953"/>
              <a:gd name="connsiteX18" fmla="*/ 40769 w 743134"/>
              <a:gd name="connsiteY18" fmla="*/ 324679 h 742953"/>
              <a:gd name="connsiteX19" fmla="*/ 113166 w 743134"/>
              <a:gd name="connsiteY19" fmla="*/ 348165 h 742953"/>
              <a:gd name="connsiteX20" fmla="*/ 188369 w 743134"/>
              <a:gd name="connsiteY20" fmla="*/ 423533 h 742953"/>
              <a:gd name="connsiteX21" fmla="*/ 212226 w 743134"/>
              <a:gd name="connsiteY21" fmla="*/ 496796 h 742953"/>
              <a:gd name="connsiteX22" fmla="*/ 233977 w 743134"/>
              <a:gd name="connsiteY22" fmla="*/ 525688 h 742953"/>
              <a:gd name="connsiteX23" fmla="*/ 550433 w 743134"/>
              <a:gd name="connsiteY23" fmla="*/ 734045 h 742953"/>
              <a:gd name="connsiteX24" fmla="*/ 533510 w 743134"/>
              <a:gd name="connsiteY24" fmla="*/ 711385 h 742953"/>
              <a:gd name="connsiteX25" fmla="*/ 519972 w 743134"/>
              <a:gd name="connsiteY25" fmla="*/ 669821 h 742953"/>
              <a:gd name="connsiteX26" fmla="*/ 486085 w 743134"/>
              <a:gd name="connsiteY26" fmla="*/ 635851 h 742953"/>
              <a:gd name="connsiteX27" fmla="*/ 445182 w 743134"/>
              <a:gd name="connsiteY27" fmla="*/ 622519 h 742953"/>
              <a:gd name="connsiteX28" fmla="*/ 412946 w 743134"/>
              <a:gd name="connsiteY28" fmla="*/ 577819 h 742953"/>
              <a:gd name="connsiteX29" fmla="*/ 444769 w 743134"/>
              <a:gd name="connsiteY29" fmla="*/ 533242 h 742953"/>
              <a:gd name="connsiteX30" fmla="*/ 486292 w 743134"/>
              <a:gd name="connsiteY30" fmla="*/ 519786 h 742953"/>
              <a:gd name="connsiteX31" fmla="*/ 519312 w 743134"/>
              <a:gd name="connsiteY31" fmla="*/ 485982 h 742953"/>
              <a:gd name="connsiteX32" fmla="*/ 532685 w 743134"/>
              <a:gd name="connsiteY32" fmla="*/ 445037 h 742953"/>
              <a:gd name="connsiteX33" fmla="*/ 592538 w 743134"/>
              <a:gd name="connsiteY33" fmla="*/ 415554 h 742953"/>
              <a:gd name="connsiteX34" fmla="*/ 621715 w 743134"/>
              <a:gd name="connsiteY34" fmla="*/ 444170 h 742953"/>
              <a:gd name="connsiteX35" fmla="*/ 635294 w 743134"/>
              <a:gd name="connsiteY35" fmla="*/ 486023 h 742953"/>
              <a:gd name="connsiteX36" fmla="*/ 669140 w 743134"/>
              <a:gd name="connsiteY36" fmla="*/ 519703 h 742953"/>
              <a:gd name="connsiteX37" fmla="*/ 710085 w 743134"/>
              <a:gd name="connsiteY37" fmla="*/ 533035 h 742953"/>
              <a:gd name="connsiteX38" fmla="*/ 740975 w 743134"/>
              <a:gd name="connsiteY38" fmla="*/ 592042 h 742953"/>
              <a:gd name="connsiteX39" fmla="*/ 711694 w 743134"/>
              <a:gd name="connsiteY39" fmla="*/ 622396 h 742953"/>
              <a:gd name="connsiteX40" fmla="*/ 669842 w 743134"/>
              <a:gd name="connsiteY40" fmla="*/ 635975 h 742953"/>
              <a:gd name="connsiteX41" fmla="*/ 636079 w 743134"/>
              <a:gd name="connsiteY41" fmla="*/ 669903 h 742953"/>
              <a:gd name="connsiteX42" fmla="*/ 622788 w 743134"/>
              <a:gd name="connsiteY42" fmla="*/ 710724 h 742953"/>
              <a:gd name="connsiteX43" fmla="*/ 605246 w 743134"/>
              <a:gd name="connsiteY43" fmla="*/ 734251 h 742953"/>
              <a:gd name="connsiteX44" fmla="*/ 550433 w 743134"/>
              <a:gd name="connsiteY44" fmla="*/ 734045 h 742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743134" h="742953">
                <a:moveTo>
                  <a:pt x="233977" y="525730"/>
                </a:moveTo>
                <a:cubicBezTo>
                  <a:pt x="244090" y="532870"/>
                  <a:pt x="256142" y="536667"/>
                  <a:pt x="268483" y="536626"/>
                </a:cubicBezTo>
                <a:lnTo>
                  <a:pt x="268483" y="536461"/>
                </a:lnTo>
                <a:cubicBezTo>
                  <a:pt x="292295" y="536502"/>
                  <a:pt x="313840" y="522345"/>
                  <a:pt x="323255" y="500469"/>
                </a:cubicBezTo>
                <a:lnTo>
                  <a:pt x="348557" y="423533"/>
                </a:lnTo>
                <a:cubicBezTo>
                  <a:pt x="360411" y="388201"/>
                  <a:pt x="388189" y="360498"/>
                  <a:pt x="423554" y="348742"/>
                </a:cubicBezTo>
                <a:lnTo>
                  <a:pt x="496940" y="324885"/>
                </a:lnTo>
                <a:cubicBezTo>
                  <a:pt x="527975" y="313981"/>
                  <a:pt x="544295" y="279984"/>
                  <a:pt x="533390" y="248950"/>
                </a:cubicBezTo>
                <a:cubicBezTo>
                  <a:pt x="527137" y="231150"/>
                  <a:pt x="512819" y="217366"/>
                  <a:pt x="494794" y="211792"/>
                </a:cubicBezTo>
                <a:lnTo>
                  <a:pt x="422357" y="188265"/>
                </a:lnTo>
                <a:cubicBezTo>
                  <a:pt x="386823" y="176449"/>
                  <a:pt x="358950" y="148560"/>
                  <a:pt x="347154" y="113021"/>
                </a:cubicBezTo>
                <a:lnTo>
                  <a:pt x="323297" y="39675"/>
                </a:lnTo>
                <a:cubicBezTo>
                  <a:pt x="312239" y="8624"/>
                  <a:pt x="278099" y="-7583"/>
                  <a:pt x="247048" y="3476"/>
                </a:cubicBezTo>
                <a:cubicBezTo>
                  <a:pt x="229839" y="9605"/>
                  <a:pt x="216384" y="23278"/>
                  <a:pt x="210533" y="40583"/>
                </a:cubicBezTo>
                <a:lnTo>
                  <a:pt x="186470" y="114548"/>
                </a:lnTo>
                <a:cubicBezTo>
                  <a:pt x="174713" y="149025"/>
                  <a:pt x="147783" y="176198"/>
                  <a:pt x="113413" y="188265"/>
                </a:cubicBezTo>
                <a:lnTo>
                  <a:pt x="40068" y="211833"/>
                </a:lnTo>
                <a:cubicBezTo>
                  <a:pt x="8972" y="222630"/>
                  <a:pt x="-7483" y="256591"/>
                  <a:pt x="3314" y="287687"/>
                </a:cubicBezTo>
                <a:cubicBezTo>
                  <a:pt x="9382" y="305160"/>
                  <a:pt x="23220" y="318830"/>
                  <a:pt x="40769" y="324679"/>
                </a:cubicBezTo>
                <a:lnTo>
                  <a:pt x="113166" y="348165"/>
                </a:lnTo>
                <a:cubicBezTo>
                  <a:pt x="148687" y="360068"/>
                  <a:pt x="176542" y="387987"/>
                  <a:pt x="188369" y="423533"/>
                </a:cubicBezTo>
                <a:lnTo>
                  <a:pt x="212226" y="496796"/>
                </a:lnTo>
                <a:cubicBezTo>
                  <a:pt x="216312" y="508477"/>
                  <a:pt x="223906" y="518589"/>
                  <a:pt x="233977" y="525688"/>
                </a:cubicBezTo>
                <a:close/>
                <a:moveTo>
                  <a:pt x="550433" y="734045"/>
                </a:moveTo>
                <a:cubicBezTo>
                  <a:pt x="542570" y="728439"/>
                  <a:pt x="536651" y="720515"/>
                  <a:pt x="533510" y="711385"/>
                </a:cubicBezTo>
                <a:lnTo>
                  <a:pt x="519972" y="669821"/>
                </a:lnTo>
                <a:cubicBezTo>
                  <a:pt x="514689" y="653773"/>
                  <a:pt x="502120" y="641172"/>
                  <a:pt x="486085" y="635851"/>
                </a:cubicBezTo>
                <a:lnTo>
                  <a:pt x="445182" y="622519"/>
                </a:lnTo>
                <a:cubicBezTo>
                  <a:pt x="425985" y="616043"/>
                  <a:pt x="413028" y="598076"/>
                  <a:pt x="412946" y="577819"/>
                </a:cubicBezTo>
                <a:cubicBezTo>
                  <a:pt x="412958" y="557693"/>
                  <a:pt x="425737" y="539792"/>
                  <a:pt x="444769" y="533242"/>
                </a:cubicBezTo>
                <a:lnTo>
                  <a:pt x="486292" y="519786"/>
                </a:lnTo>
                <a:cubicBezTo>
                  <a:pt x="501935" y="514230"/>
                  <a:pt x="514127" y="501749"/>
                  <a:pt x="519312" y="485982"/>
                </a:cubicBezTo>
                <a:lnTo>
                  <a:pt x="532685" y="445037"/>
                </a:lnTo>
                <a:cubicBezTo>
                  <a:pt x="541072" y="420367"/>
                  <a:pt x="567868" y="407167"/>
                  <a:pt x="592538" y="415554"/>
                </a:cubicBezTo>
                <a:cubicBezTo>
                  <a:pt x="606105" y="420165"/>
                  <a:pt x="616840" y="430694"/>
                  <a:pt x="621715" y="444170"/>
                </a:cubicBezTo>
                <a:lnTo>
                  <a:pt x="635294" y="486023"/>
                </a:lnTo>
                <a:cubicBezTo>
                  <a:pt x="640685" y="501926"/>
                  <a:pt x="653208" y="514391"/>
                  <a:pt x="669140" y="519703"/>
                </a:cubicBezTo>
                <a:lnTo>
                  <a:pt x="710085" y="533035"/>
                </a:lnTo>
                <a:cubicBezTo>
                  <a:pt x="734907" y="540799"/>
                  <a:pt x="748739" y="567215"/>
                  <a:pt x="740975" y="592042"/>
                </a:cubicBezTo>
                <a:cubicBezTo>
                  <a:pt x="736546" y="606208"/>
                  <a:pt x="725695" y="617459"/>
                  <a:pt x="711694" y="622396"/>
                </a:cubicBezTo>
                <a:lnTo>
                  <a:pt x="669842" y="635975"/>
                </a:lnTo>
                <a:cubicBezTo>
                  <a:pt x="653889" y="641362"/>
                  <a:pt x="641386" y="653921"/>
                  <a:pt x="636079" y="669903"/>
                </a:cubicBezTo>
                <a:lnTo>
                  <a:pt x="622788" y="710724"/>
                </a:lnTo>
                <a:cubicBezTo>
                  <a:pt x="619569" y="720217"/>
                  <a:pt x="613460" y="728472"/>
                  <a:pt x="605246" y="734251"/>
                </a:cubicBezTo>
                <a:cubicBezTo>
                  <a:pt x="588819" y="745932"/>
                  <a:pt x="566774" y="745845"/>
                  <a:pt x="550433" y="734045"/>
                </a:cubicBezTo>
                <a:close/>
              </a:path>
            </a:pathLst>
          </a:custGeom>
          <a:gradFill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</a:gradFill>
          <a:ln w="1508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EF63669-34CC-B285-1B85-A301D20A924A}"/>
              </a:ext>
            </a:extLst>
          </p:cNvPr>
          <p:cNvSpPr>
            <a:spLocks/>
          </p:cNvSpPr>
          <p:nvPr/>
        </p:nvSpPr>
        <p:spPr bwMode="auto">
          <a:xfrm>
            <a:off x="1745792" y="4592212"/>
            <a:ext cx="1411465" cy="1434267"/>
          </a:xfrm>
          <a:prstGeom prst="roundRect">
            <a:avLst>
              <a:gd name="adj" fmla="val 15528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864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ccelerating timelines</a:t>
            </a:r>
          </a:p>
        </p:txBody>
      </p:sp>
      <p:sp>
        <p:nvSpPr>
          <p:cNvPr id="28" name="Free-form: Shape 16" descr="Icon of a launched rocket">
            <a:extLst>
              <a:ext uri="{FF2B5EF4-FFF2-40B4-BE49-F238E27FC236}">
                <a16:creationId xmlns:a16="http://schemas.microsoft.com/office/drawing/2014/main" id="{40BEB330-1087-8D9E-85BD-9EC93E2D702E}"/>
              </a:ext>
            </a:extLst>
          </p:cNvPr>
          <p:cNvSpPr>
            <a:spLocks/>
          </p:cNvSpPr>
          <p:nvPr/>
        </p:nvSpPr>
        <p:spPr>
          <a:xfrm>
            <a:off x="2273030" y="4730279"/>
            <a:ext cx="356989" cy="357011"/>
          </a:xfrm>
          <a:custGeom>
            <a:avLst/>
            <a:gdLst>
              <a:gd name="connsiteX0" fmla="*/ 49665 w 186917"/>
              <a:gd name="connsiteY0" fmla="*/ 164209 h 186656"/>
              <a:gd name="connsiteX1" fmla="*/ 59761 w 186917"/>
              <a:gd name="connsiteY1" fmla="*/ 164565 h 186656"/>
              <a:gd name="connsiteX2" fmla="*/ 59405 w 186917"/>
              <a:gd name="connsiteY2" fmla="*/ 174661 h 186656"/>
              <a:gd name="connsiteX3" fmla="*/ 59414 w 186917"/>
              <a:gd name="connsiteY3" fmla="*/ 174661 h 186656"/>
              <a:gd name="connsiteX4" fmla="*/ 49318 w 186917"/>
              <a:gd name="connsiteY4" fmla="*/ 184739 h 186656"/>
              <a:gd name="connsiteX5" fmla="*/ 39578 w 186917"/>
              <a:gd name="connsiteY5" fmla="*/ 184739 h 186656"/>
              <a:gd name="connsiteX6" fmla="*/ 39221 w 186917"/>
              <a:gd name="connsiteY6" fmla="*/ 174642 h 186656"/>
              <a:gd name="connsiteX7" fmla="*/ 49308 w 186917"/>
              <a:gd name="connsiteY7" fmla="*/ 164565 h 186656"/>
              <a:gd name="connsiteX8" fmla="*/ 49665 w 186917"/>
              <a:gd name="connsiteY8" fmla="*/ 164209 h 186656"/>
              <a:gd name="connsiteX9" fmla="*/ 30811 w 186917"/>
              <a:gd name="connsiteY9" fmla="*/ 146020 h 186656"/>
              <a:gd name="connsiteX10" fmla="*/ 40736 w 186917"/>
              <a:gd name="connsiteY10" fmla="*/ 146025 h 186656"/>
              <a:gd name="connsiteX11" fmla="*/ 40907 w 186917"/>
              <a:gd name="connsiteY11" fmla="*/ 156126 h 186656"/>
              <a:gd name="connsiteX12" fmla="*/ 17333 w 186917"/>
              <a:gd name="connsiteY12" fmla="*/ 179691 h 186656"/>
              <a:gd name="connsiteX13" fmla="*/ 7407 w 186917"/>
              <a:gd name="connsiteY13" fmla="*/ 179695 h 186656"/>
              <a:gd name="connsiteX14" fmla="*/ 7227 w 186917"/>
              <a:gd name="connsiteY14" fmla="*/ 169594 h 186656"/>
              <a:gd name="connsiteX15" fmla="*/ 22378 w 186917"/>
              <a:gd name="connsiteY15" fmla="*/ 127500 h 186656"/>
              <a:gd name="connsiteX16" fmla="*/ 22381 w 186917"/>
              <a:gd name="connsiteY16" fmla="*/ 127503 h 186656"/>
              <a:gd name="connsiteX17" fmla="*/ 22381 w 186917"/>
              <a:gd name="connsiteY17" fmla="*/ 137600 h 186656"/>
              <a:gd name="connsiteX18" fmla="*/ 12284 w 186917"/>
              <a:gd name="connsiteY18" fmla="*/ 147696 h 186656"/>
              <a:gd name="connsiteX19" fmla="*/ 2183 w 186917"/>
              <a:gd name="connsiteY19" fmla="*/ 147876 h 186656"/>
              <a:gd name="connsiteX20" fmla="*/ 2003 w 186917"/>
              <a:gd name="connsiteY20" fmla="*/ 137775 h 186656"/>
              <a:gd name="connsiteX21" fmla="*/ 2178 w 186917"/>
              <a:gd name="connsiteY21" fmla="*/ 137600 h 186656"/>
              <a:gd name="connsiteX22" fmla="*/ 12275 w 186917"/>
              <a:gd name="connsiteY22" fmla="*/ 127503 h 186656"/>
              <a:gd name="connsiteX23" fmla="*/ 22378 w 186917"/>
              <a:gd name="connsiteY23" fmla="*/ 127500 h 186656"/>
              <a:gd name="connsiteX24" fmla="*/ 125127 w 186917"/>
              <a:gd name="connsiteY24" fmla="*/ 61790 h 186656"/>
              <a:gd name="connsiteX25" fmla="*/ 111653 w 186917"/>
              <a:gd name="connsiteY25" fmla="*/ 61795 h 186656"/>
              <a:gd name="connsiteX26" fmla="*/ 111658 w 186917"/>
              <a:gd name="connsiteY26" fmla="*/ 75268 h 186656"/>
              <a:gd name="connsiteX27" fmla="*/ 125127 w 186917"/>
              <a:gd name="connsiteY27" fmla="*/ 75034 h 186656"/>
              <a:gd name="connsiteX28" fmla="*/ 125127 w 186917"/>
              <a:gd name="connsiteY28" fmla="*/ 61799 h 186656"/>
              <a:gd name="connsiteX29" fmla="*/ 118392 w 186917"/>
              <a:gd name="connsiteY29" fmla="*/ 44718 h 186656"/>
              <a:gd name="connsiteX30" fmla="*/ 135233 w 186917"/>
              <a:gd name="connsiteY30" fmla="*/ 51693 h 186656"/>
              <a:gd name="connsiteX31" fmla="*/ 135233 w 186917"/>
              <a:gd name="connsiteY31" fmla="*/ 85374 h 186656"/>
              <a:gd name="connsiteX32" fmla="*/ 101552 w 186917"/>
              <a:gd name="connsiteY32" fmla="*/ 85374 h 186656"/>
              <a:gd name="connsiteX33" fmla="*/ 101552 w 186917"/>
              <a:gd name="connsiteY33" fmla="*/ 51693 h 186656"/>
              <a:gd name="connsiteX34" fmla="*/ 118392 w 186917"/>
              <a:gd name="connsiteY34" fmla="*/ 44718 h 186656"/>
              <a:gd name="connsiteX35" fmla="*/ 127445 w 186917"/>
              <a:gd name="connsiteY35" fmla="*/ 15745 h 186656"/>
              <a:gd name="connsiteX36" fmla="*/ 104077 w 186917"/>
              <a:gd name="connsiteY36" fmla="*/ 28929 h 186656"/>
              <a:gd name="connsiteX37" fmla="*/ 52680 w 186917"/>
              <a:gd name="connsiteY37" fmla="*/ 80335 h 186656"/>
              <a:gd name="connsiteX38" fmla="*/ 52680 w 186917"/>
              <a:gd name="connsiteY38" fmla="*/ 83698 h 186656"/>
              <a:gd name="connsiteX39" fmla="*/ 103229 w 186917"/>
              <a:gd name="connsiteY39" fmla="*/ 134247 h 186656"/>
              <a:gd name="connsiteX40" fmla="*/ 106592 w 186917"/>
              <a:gd name="connsiteY40" fmla="*/ 134247 h 186656"/>
              <a:gd name="connsiteX41" fmla="*/ 157988 w 186917"/>
              <a:gd name="connsiteY41" fmla="*/ 82859 h 186656"/>
              <a:gd name="connsiteX42" fmla="*/ 170371 w 186917"/>
              <a:gd name="connsiteY42" fmla="*/ 32663 h 186656"/>
              <a:gd name="connsiteX43" fmla="*/ 168409 w 186917"/>
              <a:gd name="connsiteY43" fmla="*/ 26329 h 186656"/>
              <a:gd name="connsiteX44" fmla="*/ 160570 w 186917"/>
              <a:gd name="connsiteY44" fmla="*/ 18490 h 186656"/>
              <a:gd name="connsiteX45" fmla="*/ 154264 w 186917"/>
              <a:gd name="connsiteY45" fmla="*/ 16537 h 186656"/>
              <a:gd name="connsiteX46" fmla="*/ 127445 w 186917"/>
              <a:gd name="connsiteY46" fmla="*/ 15745 h 186656"/>
              <a:gd name="connsiteX47" fmla="*/ 124017 w 186917"/>
              <a:gd name="connsiteY47" fmla="*/ 1879 h 186656"/>
              <a:gd name="connsiteX48" fmla="*/ 158493 w 186917"/>
              <a:gd name="connsiteY48" fmla="*/ 2888 h 186656"/>
              <a:gd name="connsiteX49" fmla="*/ 164808 w 186917"/>
              <a:gd name="connsiteY49" fmla="*/ 4840 h 186656"/>
              <a:gd name="connsiteX50" fmla="*/ 182049 w 186917"/>
              <a:gd name="connsiteY50" fmla="*/ 22080 h 186656"/>
              <a:gd name="connsiteX51" fmla="*/ 184020 w 186917"/>
              <a:gd name="connsiteY51" fmla="*/ 28415 h 186656"/>
              <a:gd name="connsiteX52" fmla="*/ 168085 w 186917"/>
              <a:gd name="connsiteY52" fmla="*/ 92956 h 186656"/>
              <a:gd name="connsiteX53" fmla="*/ 158579 w 186917"/>
              <a:gd name="connsiteY53" fmla="*/ 102462 h 186656"/>
              <a:gd name="connsiteX54" fmla="*/ 155455 w 186917"/>
              <a:gd name="connsiteY54" fmla="*/ 145972 h 186656"/>
              <a:gd name="connsiteX55" fmla="*/ 143625 w 186917"/>
              <a:gd name="connsiteY55" fmla="*/ 157802 h 186656"/>
              <a:gd name="connsiteX56" fmla="*/ 133528 w 186917"/>
              <a:gd name="connsiteY56" fmla="*/ 157802 h 186656"/>
              <a:gd name="connsiteX57" fmla="*/ 118383 w 186917"/>
              <a:gd name="connsiteY57" fmla="*/ 142657 h 186656"/>
              <a:gd name="connsiteX58" fmla="*/ 116698 w 186917"/>
              <a:gd name="connsiteY58" fmla="*/ 144343 h 186656"/>
              <a:gd name="connsiteX59" fmla="*/ 93124 w 186917"/>
              <a:gd name="connsiteY59" fmla="*/ 144344 h 186656"/>
              <a:gd name="connsiteX60" fmla="*/ 93123 w 186917"/>
              <a:gd name="connsiteY60" fmla="*/ 144343 h 186656"/>
              <a:gd name="connsiteX61" fmla="*/ 88484 w 186917"/>
              <a:gd name="connsiteY61" fmla="*/ 139705 h 186656"/>
              <a:gd name="connsiteX62" fmla="*/ 80760 w 186917"/>
              <a:gd name="connsiteY62" fmla="*/ 152944 h 186656"/>
              <a:gd name="connsiteX63" fmla="*/ 70991 w 186917"/>
              <a:gd name="connsiteY63" fmla="*/ 155519 h 186656"/>
              <a:gd name="connsiteX64" fmla="*/ 69539 w 186917"/>
              <a:gd name="connsiteY64" fmla="*/ 154402 h 186656"/>
              <a:gd name="connsiteX65" fmla="*/ 32487 w 186917"/>
              <a:gd name="connsiteY65" fmla="*/ 117359 h 186656"/>
              <a:gd name="connsiteX66" fmla="*/ 32491 w 186917"/>
              <a:gd name="connsiteY66" fmla="*/ 107256 h 186656"/>
              <a:gd name="connsiteX67" fmla="*/ 33878 w 186917"/>
              <a:gd name="connsiteY67" fmla="*/ 106177 h 186656"/>
              <a:gd name="connsiteX68" fmla="*/ 47060 w 186917"/>
              <a:gd name="connsiteY68" fmla="*/ 98280 h 186656"/>
              <a:gd name="connsiteX69" fmla="*/ 42584 w 186917"/>
              <a:gd name="connsiteY69" fmla="*/ 93804 h 186656"/>
              <a:gd name="connsiteX70" fmla="*/ 42582 w 186917"/>
              <a:gd name="connsiteY70" fmla="*/ 70231 h 186656"/>
              <a:gd name="connsiteX71" fmla="*/ 42584 w 186917"/>
              <a:gd name="connsiteY71" fmla="*/ 70229 h 186656"/>
              <a:gd name="connsiteX72" fmla="*/ 44298 w 186917"/>
              <a:gd name="connsiteY72" fmla="*/ 68515 h 186656"/>
              <a:gd name="connsiteX73" fmla="*/ 29134 w 186917"/>
              <a:gd name="connsiteY73" fmla="*/ 53370 h 186656"/>
              <a:gd name="connsiteX74" fmla="*/ 29131 w 186917"/>
              <a:gd name="connsiteY74" fmla="*/ 43267 h 186656"/>
              <a:gd name="connsiteX75" fmla="*/ 29134 w 186917"/>
              <a:gd name="connsiteY75" fmla="*/ 43264 h 186656"/>
              <a:gd name="connsiteX76" fmla="*/ 40974 w 186917"/>
              <a:gd name="connsiteY76" fmla="*/ 31424 h 186656"/>
              <a:gd name="connsiteX77" fmla="*/ 84494 w 186917"/>
              <a:gd name="connsiteY77" fmla="*/ 28310 h 186656"/>
              <a:gd name="connsiteX78" fmla="*/ 93980 w 186917"/>
              <a:gd name="connsiteY78" fmla="*/ 18832 h 186656"/>
              <a:gd name="connsiteX79" fmla="*/ 124017 w 186917"/>
              <a:gd name="connsiteY79" fmla="*/ 1879 h 186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86917" h="186656">
                <a:moveTo>
                  <a:pt x="49665" y="164209"/>
                </a:moveTo>
                <a:cubicBezTo>
                  <a:pt x="52551" y="161519"/>
                  <a:pt x="57071" y="161679"/>
                  <a:pt x="59761" y="164565"/>
                </a:cubicBezTo>
                <a:cubicBezTo>
                  <a:pt x="62451" y="167451"/>
                  <a:pt x="62291" y="171972"/>
                  <a:pt x="59405" y="174661"/>
                </a:cubicBezTo>
                <a:lnTo>
                  <a:pt x="59414" y="174661"/>
                </a:lnTo>
                <a:lnTo>
                  <a:pt x="49318" y="184739"/>
                </a:lnTo>
                <a:cubicBezTo>
                  <a:pt x="46574" y="187295"/>
                  <a:pt x="42321" y="187295"/>
                  <a:pt x="39578" y="184739"/>
                </a:cubicBezTo>
                <a:cubicBezTo>
                  <a:pt x="36691" y="182049"/>
                  <a:pt x="36532" y="177528"/>
                  <a:pt x="39221" y="174642"/>
                </a:cubicBezTo>
                <a:lnTo>
                  <a:pt x="49308" y="164565"/>
                </a:lnTo>
                <a:cubicBezTo>
                  <a:pt x="49423" y="164442"/>
                  <a:pt x="49542" y="164323"/>
                  <a:pt x="49665" y="164209"/>
                </a:cubicBezTo>
                <a:close/>
                <a:moveTo>
                  <a:pt x="30811" y="146020"/>
                </a:moveTo>
                <a:cubicBezTo>
                  <a:pt x="33580" y="143347"/>
                  <a:pt x="37969" y="143349"/>
                  <a:pt x="40736" y="146025"/>
                </a:cubicBezTo>
                <a:cubicBezTo>
                  <a:pt x="43573" y="148767"/>
                  <a:pt x="43649" y="153289"/>
                  <a:pt x="40907" y="156126"/>
                </a:cubicBezTo>
                <a:lnTo>
                  <a:pt x="17333" y="179691"/>
                </a:lnTo>
                <a:cubicBezTo>
                  <a:pt x="14566" y="182366"/>
                  <a:pt x="10177" y="182368"/>
                  <a:pt x="7407" y="179695"/>
                </a:cubicBezTo>
                <a:cubicBezTo>
                  <a:pt x="4568" y="176956"/>
                  <a:pt x="4487" y="172434"/>
                  <a:pt x="7227" y="169594"/>
                </a:cubicBezTo>
                <a:close/>
                <a:moveTo>
                  <a:pt x="22378" y="127500"/>
                </a:moveTo>
                <a:cubicBezTo>
                  <a:pt x="22379" y="127501"/>
                  <a:pt x="22380" y="127502"/>
                  <a:pt x="22381" y="127503"/>
                </a:cubicBezTo>
                <a:cubicBezTo>
                  <a:pt x="25167" y="130292"/>
                  <a:pt x="25167" y="134811"/>
                  <a:pt x="22381" y="137600"/>
                </a:cubicBezTo>
                <a:lnTo>
                  <a:pt x="12284" y="147696"/>
                </a:lnTo>
                <a:cubicBezTo>
                  <a:pt x="9545" y="150536"/>
                  <a:pt x="5022" y="150616"/>
                  <a:pt x="2183" y="147876"/>
                </a:cubicBezTo>
                <a:cubicBezTo>
                  <a:pt x="-656" y="145137"/>
                  <a:pt x="-737" y="140614"/>
                  <a:pt x="2003" y="137775"/>
                </a:cubicBezTo>
                <a:cubicBezTo>
                  <a:pt x="2060" y="137716"/>
                  <a:pt x="2119" y="137657"/>
                  <a:pt x="2178" y="137600"/>
                </a:cubicBezTo>
                <a:lnTo>
                  <a:pt x="12275" y="127503"/>
                </a:lnTo>
                <a:cubicBezTo>
                  <a:pt x="15064" y="124712"/>
                  <a:pt x="19587" y="124711"/>
                  <a:pt x="22378" y="127500"/>
                </a:cubicBezTo>
                <a:close/>
                <a:moveTo>
                  <a:pt x="125127" y="61790"/>
                </a:moveTo>
                <a:cubicBezTo>
                  <a:pt x="121405" y="58071"/>
                  <a:pt x="115373" y="58073"/>
                  <a:pt x="111653" y="61795"/>
                </a:cubicBezTo>
                <a:cubicBezTo>
                  <a:pt x="107934" y="65517"/>
                  <a:pt x="107937" y="71549"/>
                  <a:pt x="111658" y="75268"/>
                </a:cubicBezTo>
                <a:cubicBezTo>
                  <a:pt x="115442" y="78923"/>
                  <a:pt x="121472" y="78818"/>
                  <a:pt x="125127" y="75034"/>
                </a:cubicBezTo>
                <a:cubicBezTo>
                  <a:pt x="128692" y="71343"/>
                  <a:pt x="128692" y="65491"/>
                  <a:pt x="125127" y="61799"/>
                </a:cubicBezTo>
                <a:close/>
                <a:moveTo>
                  <a:pt x="118392" y="44718"/>
                </a:moveTo>
                <a:cubicBezTo>
                  <a:pt x="124487" y="44718"/>
                  <a:pt x="130583" y="47043"/>
                  <a:pt x="135233" y="51693"/>
                </a:cubicBezTo>
                <a:cubicBezTo>
                  <a:pt x="144533" y="60994"/>
                  <a:pt x="144533" y="76073"/>
                  <a:pt x="135233" y="85374"/>
                </a:cubicBezTo>
                <a:cubicBezTo>
                  <a:pt x="125932" y="94674"/>
                  <a:pt x="110852" y="94674"/>
                  <a:pt x="101552" y="85374"/>
                </a:cubicBezTo>
                <a:cubicBezTo>
                  <a:pt x="92252" y="76073"/>
                  <a:pt x="92252" y="60994"/>
                  <a:pt x="101552" y="51693"/>
                </a:cubicBezTo>
                <a:cubicBezTo>
                  <a:pt x="106202" y="47043"/>
                  <a:pt x="112297" y="44718"/>
                  <a:pt x="118392" y="44718"/>
                </a:cubicBezTo>
                <a:close/>
                <a:moveTo>
                  <a:pt x="127445" y="15745"/>
                </a:moveTo>
                <a:cubicBezTo>
                  <a:pt x="118756" y="17890"/>
                  <a:pt x="110643" y="22365"/>
                  <a:pt x="104077" y="28929"/>
                </a:cubicBezTo>
                <a:lnTo>
                  <a:pt x="52680" y="80335"/>
                </a:lnTo>
                <a:cubicBezTo>
                  <a:pt x="51754" y="81265"/>
                  <a:pt x="51754" y="82768"/>
                  <a:pt x="52680" y="83698"/>
                </a:cubicBezTo>
                <a:lnTo>
                  <a:pt x="103229" y="134247"/>
                </a:lnTo>
                <a:cubicBezTo>
                  <a:pt x="104159" y="135174"/>
                  <a:pt x="105662" y="135174"/>
                  <a:pt x="106592" y="134247"/>
                </a:cubicBezTo>
                <a:lnTo>
                  <a:pt x="157988" y="82859"/>
                </a:lnTo>
                <a:cubicBezTo>
                  <a:pt x="171117" y="69725"/>
                  <a:pt x="175884" y="50396"/>
                  <a:pt x="170371" y="32663"/>
                </a:cubicBezTo>
                <a:lnTo>
                  <a:pt x="168409" y="26329"/>
                </a:lnTo>
                <a:cubicBezTo>
                  <a:pt x="167246" y="22584"/>
                  <a:pt x="164314" y="19652"/>
                  <a:pt x="160570" y="18490"/>
                </a:cubicBezTo>
                <a:lnTo>
                  <a:pt x="154264" y="16537"/>
                </a:lnTo>
                <a:cubicBezTo>
                  <a:pt x="145398" y="13783"/>
                  <a:pt x="136134" y="13599"/>
                  <a:pt x="127445" y="15745"/>
                </a:cubicBezTo>
                <a:close/>
                <a:moveTo>
                  <a:pt x="124017" y="1879"/>
                </a:moveTo>
                <a:cubicBezTo>
                  <a:pt x="135186" y="-881"/>
                  <a:pt x="147095" y="-648"/>
                  <a:pt x="158493" y="2888"/>
                </a:cubicBezTo>
                <a:lnTo>
                  <a:pt x="164808" y="4840"/>
                </a:lnTo>
                <a:cubicBezTo>
                  <a:pt x="173043" y="7399"/>
                  <a:pt x="179490" y="13846"/>
                  <a:pt x="182049" y="22080"/>
                </a:cubicBezTo>
                <a:lnTo>
                  <a:pt x="184020" y="28415"/>
                </a:lnTo>
                <a:cubicBezTo>
                  <a:pt x="191106" y="51218"/>
                  <a:pt x="184970" y="76071"/>
                  <a:pt x="168085" y="92956"/>
                </a:cubicBezTo>
                <a:lnTo>
                  <a:pt x="158579" y="102462"/>
                </a:lnTo>
                <a:cubicBezTo>
                  <a:pt x="168500" y="115725"/>
                  <a:pt x="167170" y="134263"/>
                  <a:pt x="155455" y="145972"/>
                </a:cubicBezTo>
                <a:lnTo>
                  <a:pt x="143625" y="157802"/>
                </a:lnTo>
                <a:cubicBezTo>
                  <a:pt x="140836" y="160588"/>
                  <a:pt x="136317" y="160588"/>
                  <a:pt x="133528" y="157802"/>
                </a:cubicBezTo>
                <a:lnTo>
                  <a:pt x="118383" y="142657"/>
                </a:lnTo>
                <a:lnTo>
                  <a:pt x="116698" y="144343"/>
                </a:lnTo>
                <a:cubicBezTo>
                  <a:pt x="110188" y="150854"/>
                  <a:pt x="99634" y="150854"/>
                  <a:pt x="93124" y="144344"/>
                </a:cubicBezTo>
                <a:cubicBezTo>
                  <a:pt x="93124" y="144344"/>
                  <a:pt x="93123" y="144343"/>
                  <a:pt x="93123" y="144343"/>
                </a:cubicBezTo>
                <a:lnTo>
                  <a:pt x="88484" y="139705"/>
                </a:lnTo>
                <a:lnTo>
                  <a:pt x="80760" y="152944"/>
                </a:lnTo>
                <a:cubicBezTo>
                  <a:pt x="78773" y="156353"/>
                  <a:pt x="74399" y="157506"/>
                  <a:pt x="70991" y="155519"/>
                </a:cubicBezTo>
                <a:cubicBezTo>
                  <a:pt x="70461" y="155210"/>
                  <a:pt x="69973" y="154835"/>
                  <a:pt x="69539" y="154402"/>
                </a:cubicBezTo>
                <a:lnTo>
                  <a:pt x="32487" y="117359"/>
                </a:lnTo>
                <a:cubicBezTo>
                  <a:pt x="29698" y="114568"/>
                  <a:pt x="29700" y="110045"/>
                  <a:pt x="32491" y="107256"/>
                </a:cubicBezTo>
                <a:cubicBezTo>
                  <a:pt x="32907" y="106841"/>
                  <a:pt x="33373" y="106478"/>
                  <a:pt x="33878" y="106177"/>
                </a:cubicBezTo>
                <a:lnTo>
                  <a:pt x="47060" y="98280"/>
                </a:lnTo>
                <a:lnTo>
                  <a:pt x="42584" y="93804"/>
                </a:lnTo>
                <a:cubicBezTo>
                  <a:pt x="36074" y="87294"/>
                  <a:pt x="36073" y="76741"/>
                  <a:pt x="42582" y="70231"/>
                </a:cubicBezTo>
                <a:cubicBezTo>
                  <a:pt x="42583" y="70230"/>
                  <a:pt x="42583" y="70230"/>
                  <a:pt x="42584" y="70229"/>
                </a:cubicBezTo>
                <a:lnTo>
                  <a:pt x="44298" y="68515"/>
                </a:lnTo>
                <a:lnTo>
                  <a:pt x="29134" y="53370"/>
                </a:lnTo>
                <a:cubicBezTo>
                  <a:pt x="26343" y="50581"/>
                  <a:pt x="26342" y="46058"/>
                  <a:pt x="29131" y="43267"/>
                </a:cubicBezTo>
                <a:cubicBezTo>
                  <a:pt x="29132" y="43266"/>
                  <a:pt x="29133" y="43265"/>
                  <a:pt x="29134" y="43264"/>
                </a:cubicBezTo>
                <a:lnTo>
                  <a:pt x="40974" y="31424"/>
                </a:lnTo>
                <a:cubicBezTo>
                  <a:pt x="52689" y="19712"/>
                  <a:pt x="71230" y="18385"/>
                  <a:pt x="84494" y="28310"/>
                </a:cubicBezTo>
                <a:lnTo>
                  <a:pt x="93980" y="18832"/>
                </a:lnTo>
                <a:cubicBezTo>
                  <a:pt x="102419" y="10393"/>
                  <a:pt x="112848" y="4639"/>
                  <a:pt x="124017" y="1879"/>
                </a:cubicBezTo>
                <a:close/>
              </a:path>
            </a:pathLst>
          </a:custGeom>
          <a:gradFill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</a:gradFill>
          <a:ln w="150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BAE843A-996D-1F0A-678F-656E4021EEAB}"/>
              </a:ext>
            </a:extLst>
          </p:cNvPr>
          <p:cNvSpPr>
            <a:spLocks/>
          </p:cNvSpPr>
          <p:nvPr/>
        </p:nvSpPr>
        <p:spPr bwMode="auto">
          <a:xfrm>
            <a:off x="3386416" y="4592212"/>
            <a:ext cx="1411465" cy="1434267"/>
          </a:xfrm>
          <a:prstGeom prst="roundRect">
            <a:avLst>
              <a:gd name="adj" fmla="val 15528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864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upport for Innovation</a:t>
            </a:r>
          </a:p>
        </p:txBody>
      </p:sp>
      <p:sp>
        <p:nvSpPr>
          <p:cNvPr id="29" name="Graphic 80" descr="Icon of a lightbulb">
            <a:extLst>
              <a:ext uri="{FF2B5EF4-FFF2-40B4-BE49-F238E27FC236}">
                <a16:creationId xmlns:a16="http://schemas.microsoft.com/office/drawing/2014/main" id="{0580A7B0-D030-7B0D-8907-54F2E052695B}"/>
              </a:ext>
            </a:extLst>
          </p:cNvPr>
          <p:cNvSpPr>
            <a:spLocks/>
          </p:cNvSpPr>
          <p:nvPr/>
        </p:nvSpPr>
        <p:spPr>
          <a:xfrm>
            <a:off x="3953137" y="4717059"/>
            <a:ext cx="278022" cy="383452"/>
          </a:xfrm>
          <a:custGeom>
            <a:avLst/>
            <a:gdLst>
              <a:gd name="connsiteX0" fmla="*/ 102756 w 138112"/>
              <a:gd name="connsiteY0" fmla="*/ 161906 h 190490"/>
              <a:gd name="connsiteX1" fmla="*/ 99993 w 138112"/>
              <a:gd name="connsiteY1" fmla="*/ 173898 h 190490"/>
              <a:gd name="connsiteX2" fmla="*/ 80753 w 138112"/>
              <a:gd name="connsiteY2" fmla="*/ 190424 h 190490"/>
              <a:gd name="connsiteX3" fmla="*/ 79105 w 138112"/>
              <a:gd name="connsiteY3" fmla="*/ 190490 h 190490"/>
              <a:gd name="connsiteX4" fmla="*/ 58998 w 138112"/>
              <a:gd name="connsiteY4" fmla="*/ 190490 h 190490"/>
              <a:gd name="connsiteX5" fmla="*/ 38548 w 138112"/>
              <a:gd name="connsiteY5" fmla="*/ 175470 h 190490"/>
              <a:gd name="connsiteX6" fmla="*/ 38110 w 138112"/>
              <a:gd name="connsiteY6" fmla="*/ 173879 h 190490"/>
              <a:gd name="connsiteX7" fmla="*/ 35347 w 138112"/>
              <a:gd name="connsiteY7" fmla="*/ 161906 h 190490"/>
              <a:gd name="connsiteX8" fmla="*/ 102756 w 138112"/>
              <a:gd name="connsiteY8" fmla="*/ 161906 h 190490"/>
              <a:gd name="connsiteX9" fmla="*/ 69056 w 138112"/>
              <a:gd name="connsiteY9" fmla="*/ 0 h 190490"/>
              <a:gd name="connsiteX10" fmla="*/ 138113 w 138112"/>
              <a:gd name="connsiteY10" fmla="*/ 69056 h 190490"/>
              <a:gd name="connsiteX11" fmla="*/ 111776 w 138112"/>
              <a:gd name="connsiteY11" fmla="*/ 124682 h 190490"/>
              <a:gd name="connsiteX12" fmla="*/ 111100 w 138112"/>
              <a:gd name="connsiteY12" fmla="*/ 125873 h 190490"/>
              <a:gd name="connsiteX13" fmla="*/ 106070 w 138112"/>
              <a:gd name="connsiteY13" fmla="*/ 147618 h 190490"/>
              <a:gd name="connsiteX14" fmla="*/ 76200 w 138112"/>
              <a:gd name="connsiteY14" fmla="*/ 147618 h 190490"/>
              <a:gd name="connsiteX15" fmla="*/ 76200 w 138112"/>
              <a:gd name="connsiteY15" fmla="*/ 83334 h 190490"/>
              <a:gd name="connsiteX16" fmla="*/ 69056 w 138112"/>
              <a:gd name="connsiteY16" fmla="*/ 76190 h 190490"/>
              <a:gd name="connsiteX17" fmla="*/ 61913 w 138112"/>
              <a:gd name="connsiteY17" fmla="*/ 83334 h 190490"/>
              <a:gd name="connsiteX18" fmla="*/ 61913 w 138112"/>
              <a:gd name="connsiteY18" fmla="*/ 147628 h 190490"/>
              <a:gd name="connsiteX19" fmla="*/ 32042 w 138112"/>
              <a:gd name="connsiteY19" fmla="*/ 147628 h 190490"/>
              <a:gd name="connsiteX20" fmla="*/ 27032 w 138112"/>
              <a:gd name="connsiteY20" fmla="*/ 125882 h 190490"/>
              <a:gd name="connsiteX21" fmla="*/ 26356 w 138112"/>
              <a:gd name="connsiteY21" fmla="*/ 124701 h 190490"/>
              <a:gd name="connsiteX22" fmla="*/ 0 w 138112"/>
              <a:gd name="connsiteY22" fmla="*/ 69047 h 190490"/>
              <a:gd name="connsiteX23" fmla="*/ 69056 w 138112"/>
              <a:gd name="connsiteY23" fmla="*/ 0 h 190490"/>
              <a:gd name="connsiteX24" fmla="*/ 61913 w 138112"/>
              <a:gd name="connsiteY24" fmla="*/ 45244 h 190490"/>
              <a:gd name="connsiteX25" fmla="*/ 61913 w 138112"/>
              <a:gd name="connsiteY25" fmla="*/ 59531 h 190490"/>
              <a:gd name="connsiteX26" fmla="*/ 69056 w 138112"/>
              <a:gd name="connsiteY26" fmla="*/ 66675 h 190490"/>
              <a:gd name="connsiteX27" fmla="*/ 76200 w 138112"/>
              <a:gd name="connsiteY27" fmla="*/ 59531 h 190490"/>
              <a:gd name="connsiteX28" fmla="*/ 76200 w 138112"/>
              <a:gd name="connsiteY28" fmla="*/ 45244 h 190490"/>
              <a:gd name="connsiteX29" fmla="*/ 69056 w 138112"/>
              <a:gd name="connsiteY29" fmla="*/ 38100 h 190490"/>
              <a:gd name="connsiteX30" fmla="*/ 61913 w 138112"/>
              <a:gd name="connsiteY30" fmla="*/ 45244 h 190490"/>
              <a:gd name="connsiteX31" fmla="*/ 109823 w 138112"/>
              <a:gd name="connsiteY31" fmla="*/ 59198 h 190490"/>
              <a:gd name="connsiteX32" fmla="*/ 99727 w 138112"/>
              <a:gd name="connsiteY32" fmla="*/ 59198 h 190490"/>
              <a:gd name="connsiteX33" fmla="*/ 89621 w 138112"/>
              <a:gd name="connsiteY33" fmla="*/ 69294 h 190490"/>
              <a:gd name="connsiteX34" fmla="*/ 89441 w 138112"/>
              <a:gd name="connsiteY34" fmla="*/ 79396 h 190490"/>
              <a:gd name="connsiteX35" fmla="*/ 99542 w 138112"/>
              <a:gd name="connsiteY35" fmla="*/ 79576 h 190490"/>
              <a:gd name="connsiteX36" fmla="*/ 99717 w 138112"/>
              <a:gd name="connsiteY36" fmla="*/ 79400 h 190490"/>
              <a:gd name="connsiteX37" fmla="*/ 109823 w 138112"/>
              <a:gd name="connsiteY37" fmla="*/ 69304 h 190490"/>
              <a:gd name="connsiteX38" fmla="*/ 109823 w 138112"/>
              <a:gd name="connsiteY38" fmla="*/ 59207 h 190490"/>
              <a:gd name="connsiteX39" fmla="*/ 38386 w 138112"/>
              <a:gd name="connsiteY39" fmla="*/ 59198 h 190490"/>
              <a:gd name="connsiteX40" fmla="*/ 28289 w 138112"/>
              <a:gd name="connsiteY40" fmla="*/ 59554 h 190490"/>
              <a:gd name="connsiteX41" fmla="*/ 28289 w 138112"/>
              <a:gd name="connsiteY41" fmla="*/ 69294 h 190490"/>
              <a:gd name="connsiteX42" fmla="*/ 38386 w 138112"/>
              <a:gd name="connsiteY42" fmla="*/ 79400 h 190490"/>
              <a:gd name="connsiteX43" fmla="*/ 48487 w 138112"/>
              <a:gd name="connsiteY43" fmla="*/ 79580 h 190490"/>
              <a:gd name="connsiteX44" fmla="*/ 48667 w 138112"/>
              <a:gd name="connsiteY44" fmla="*/ 69479 h 190490"/>
              <a:gd name="connsiteX45" fmla="*/ 48492 w 138112"/>
              <a:gd name="connsiteY45" fmla="*/ 69304 h 190490"/>
              <a:gd name="connsiteX46" fmla="*/ 38395 w 138112"/>
              <a:gd name="connsiteY46" fmla="*/ 59207 h 190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38112" h="190490">
                <a:moveTo>
                  <a:pt x="102756" y="161906"/>
                </a:moveTo>
                <a:lnTo>
                  <a:pt x="99993" y="173898"/>
                </a:lnTo>
                <a:cubicBezTo>
                  <a:pt x="97878" y="183018"/>
                  <a:pt x="90087" y="189708"/>
                  <a:pt x="80753" y="190424"/>
                </a:cubicBezTo>
                <a:lnTo>
                  <a:pt x="79105" y="190490"/>
                </a:lnTo>
                <a:lnTo>
                  <a:pt x="58998" y="190490"/>
                </a:lnTo>
                <a:cubicBezTo>
                  <a:pt x="49631" y="190490"/>
                  <a:pt x="41349" y="184408"/>
                  <a:pt x="38548" y="175470"/>
                </a:cubicBezTo>
                <a:lnTo>
                  <a:pt x="38110" y="173879"/>
                </a:lnTo>
                <a:lnTo>
                  <a:pt x="35347" y="161906"/>
                </a:lnTo>
                <a:lnTo>
                  <a:pt x="102756" y="161906"/>
                </a:lnTo>
                <a:close/>
                <a:moveTo>
                  <a:pt x="69056" y="0"/>
                </a:moveTo>
                <a:cubicBezTo>
                  <a:pt x="107195" y="0"/>
                  <a:pt x="138113" y="30918"/>
                  <a:pt x="138113" y="69056"/>
                </a:cubicBezTo>
                <a:cubicBezTo>
                  <a:pt x="138113" y="89402"/>
                  <a:pt x="129197" y="108042"/>
                  <a:pt x="111776" y="124682"/>
                </a:cubicBezTo>
                <a:cubicBezTo>
                  <a:pt x="111439" y="125004"/>
                  <a:pt x="111203" y="125419"/>
                  <a:pt x="111100" y="125873"/>
                </a:cubicBezTo>
                <a:lnTo>
                  <a:pt x="106070" y="147618"/>
                </a:lnTo>
                <a:lnTo>
                  <a:pt x="76200" y="147618"/>
                </a:lnTo>
                <a:lnTo>
                  <a:pt x="76200" y="83334"/>
                </a:lnTo>
                <a:cubicBezTo>
                  <a:pt x="76200" y="79389"/>
                  <a:pt x="73002" y="76190"/>
                  <a:pt x="69056" y="76190"/>
                </a:cubicBezTo>
                <a:cubicBezTo>
                  <a:pt x="65111" y="76190"/>
                  <a:pt x="61913" y="79389"/>
                  <a:pt x="61913" y="83334"/>
                </a:cubicBezTo>
                <a:lnTo>
                  <a:pt x="61913" y="147628"/>
                </a:lnTo>
                <a:lnTo>
                  <a:pt x="32042" y="147628"/>
                </a:lnTo>
                <a:lnTo>
                  <a:pt x="27032" y="125882"/>
                </a:lnTo>
                <a:cubicBezTo>
                  <a:pt x="26926" y="125431"/>
                  <a:pt x="26691" y="125020"/>
                  <a:pt x="26356" y="124701"/>
                </a:cubicBezTo>
                <a:cubicBezTo>
                  <a:pt x="8925" y="108042"/>
                  <a:pt x="0" y="89402"/>
                  <a:pt x="0" y="69047"/>
                </a:cubicBezTo>
                <a:cubicBezTo>
                  <a:pt x="5" y="30912"/>
                  <a:pt x="30921" y="0"/>
                  <a:pt x="69056" y="0"/>
                </a:cubicBezTo>
                <a:close/>
                <a:moveTo>
                  <a:pt x="61913" y="45244"/>
                </a:moveTo>
                <a:lnTo>
                  <a:pt x="61913" y="59531"/>
                </a:lnTo>
                <a:cubicBezTo>
                  <a:pt x="61913" y="63477"/>
                  <a:pt x="65111" y="66675"/>
                  <a:pt x="69056" y="66675"/>
                </a:cubicBezTo>
                <a:cubicBezTo>
                  <a:pt x="73002" y="66675"/>
                  <a:pt x="76200" y="63477"/>
                  <a:pt x="76200" y="59531"/>
                </a:cubicBezTo>
                <a:lnTo>
                  <a:pt x="76200" y="45244"/>
                </a:lnTo>
                <a:cubicBezTo>
                  <a:pt x="76200" y="41298"/>
                  <a:pt x="73002" y="38100"/>
                  <a:pt x="69056" y="38100"/>
                </a:cubicBezTo>
                <a:cubicBezTo>
                  <a:pt x="65111" y="38100"/>
                  <a:pt x="61913" y="41298"/>
                  <a:pt x="61913" y="45244"/>
                </a:cubicBezTo>
                <a:close/>
                <a:moveTo>
                  <a:pt x="109823" y="59198"/>
                </a:moveTo>
                <a:cubicBezTo>
                  <a:pt x="107034" y="56412"/>
                  <a:pt x="102516" y="56412"/>
                  <a:pt x="99727" y="59198"/>
                </a:cubicBezTo>
                <a:lnTo>
                  <a:pt x="89621" y="69294"/>
                </a:lnTo>
                <a:cubicBezTo>
                  <a:pt x="86781" y="72034"/>
                  <a:pt x="86701" y="76556"/>
                  <a:pt x="89441" y="79396"/>
                </a:cubicBezTo>
                <a:cubicBezTo>
                  <a:pt x="92180" y="82235"/>
                  <a:pt x="96703" y="82315"/>
                  <a:pt x="99542" y="79576"/>
                </a:cubicBezTo>
                <a:cubicBezTo>
                  <a:pt x="99601" y="79519"/>
                  <a:pt x="99660" y="79459"/>
                  <a:pt x="99717" y="79400"/>
                </a:cubicBezTo>
                <a:lnTo>
                  <a:pt x="109823" y="69304"/>
                </a:lnTo>
                <a:cubicBezTo>
                  <a:pt x="112609" y="66515"/>
                  <a:pt x="112609" y="61997"/>
                  <a:pt x="109823" y="59207"/>
                </a:cubicBezTo>
                <a:close/>
                <a:moveTo>
                  <a:pt x="38386" y="59198"/>
                </a:moveTo>
                <a:cubicBezTo>
                  <a:pt x="35499" y="56508"/>
                  <a:pt x="30979" y="56668"/>
                  <a:pt x="28289" y="59554"/>
                </a:cubicBezTo>
                <a:cubicBezTo>
                  <a:pt x="25733" y="62298"/>
                  <a:pt x="25733" y="66551"/>
                  <a:pt x="28289" y="69294"/>
                </a:cubicBezTo>
                <a:lnTo>
                  <a:pt x="38386" y="79400"/>
                </a:lnTo>
                <a:cubicBezTo>
                  <a:pt x="41125" y="82240"/>
                  <a:pt x="45648" y="82320"/>
                  <a:pt x="48487" y="79580"/>
                </a:cubicBezTo>
                <a:cubicBezTo>
                  <a:pt x="51326" y="76841"/>
                  <a:pt x="51406" y="72319"/>
                  <a:pt x="48667" y="69479"/>
                </a:cubicBezTo>
                <a:cubicBezTo>
                  <a:pt x="48610" y="69420"/>
                  <a:pt x="48551" y="69361"/>
                  <a:pt x="48492" y="69304"/>
                </a:cubicBezTo>
                <a:lnTo>
                  <a:pt x="38395" y="59207"/>
                </a:lnTo>
                <a:close/>
              </a:path>
            </a:pathLst>
          </a:custGeom>
          <a:gradFill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</a:gradFill>
          <a:ln w="1508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3CA8067-8B95-0000-8BD8-1AFE9BF26D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rot="10800000" flipH="1" flipV="1">
            <a:off x="6240460" y="1436688"/>
            <a:ext cx="5375275" cy="4832349"/>
          </a:xfrm>
          <a:prstGeom prst="roundRect">
            <a:avLst>
              <a:gd name="adj" fmla="val 7420"/>
            </a:avLst>
          </a:prstGeom>
          <a:noFill/>
          <a:ln w="12700">
            <a:solidFill>
              <a:schemeClr val="tx1">
                <a:alpha val="2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8248" name="Oval 8247">
            <a:extLst>
              <a:ext uri="{FF2B5EF4-FFF2-40B4-BE49-F238E27FC236}">
                <a16:creationId xmlns:a16="http://schemas.microsoft.com/office/drawing/2014/main" id="{7B4C59C1-5D16-911A-E762-C9CE6C0BF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6571934" y="1930391"/>
            <a:ext cx="809942" cy="809940"/>
          </a:xfrm>
          <a:prstGeom prst="ellipse">
            <a:avLst/>
          </a:prstGeom>
          <a:solidFill>
            <a:schemeClr val="bg1"/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pic>
        <p:nvPicPr>
          <p:cNvPr id="8250" name="Picture 2" descr="Power Platform with &quot;Prompt&quot; as text below">
            <a:extLst>
              <a:ext uri="{FF2B5EF4-FFF2-40B4-BE49-F238E27FC236}">
                <a16:creationId xmlns:a16="http://schemas.microsoft.com/office/drawing/2014/main" id="{CE4FB076-01ED-90D9-F0CC-1E61819F0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8622" y="2097078"/>
            <a:ext cx="476566" cy="476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91" name="TextBox 8290">
            <a:extLst>
              <a:ext uri="{FF2B5EF4-FFF2-40B4-BE49-F238E27FC236}">
                <a16:creationId xmlns:a16="http://schemas.microsoft.com/office/drawing/2014/main" id="{6DC0BB29-F258-6CCA-95D5-57753F57DC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629950" y="2945158"/>
            <a:ext cx="693908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80000">
                      <a:srgbClr val="000000"/>
                    </a:gs>
                  </a:gsLst>
                  <a:lin ang="10800000" scaled="1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Promp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000000"/>
                  </a:gs>
                  <a:gs pos="80000">
                    <a:srgbClr val="000000"/>
                  </a:gs>
                </a:gsLst>
                <a:lin ang="10800000" scaled="1"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8246" name="Oval 8245">
            <a:extLst>
              <a:ext uri="{FF2B5EF4-FFF2-40B4-BE49-F238E27FC236}">
                <a16:creationId xmlns:a16="http://schemas.microsoft.com/office/drawing/2014/main" id="{69001967-DE9A-FBED-937F-CA336CA1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8449347" y="1856613"/>
            <a:ext cx="957500" cy="957496"/>
          </a:xfrm>
          <a:prstGeom prst="ellipse">
            <a:avLst/>
          </a:prstGeom>
          <a:solidFill>
            <a:schemeClr val="bg1"/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pic>
        <p:nvPicPr>
          <p:cNvPr id="8251" name="Picture 2" descr="Copilot Studio">
            <a:extLst>
              <a:ext uri="{FF2B5EF4-FFF2-40B4-BE49-F238E27FC236}">
                <a16:creationId xmlns:a16="http://schemas.microsoft.com/office/drawing/2014/main" id="{70A18A86-B841-E301-4022-A11D887FBF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7484" y="2057362"/>
            <a:ext cx="621226" cy="555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93" name="TextBox 8292">
            <a:extLst>
              <a:ext uri="{FF2B5EF4-FFF2-40B4-BE49-F238E27FC236}">
                <a16:creationId xmlns:a16="http://schemas.microsoft.com/office/drawing/2014/main" id="{5689986B-3203-1119-BA64-5F1E29CB34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8094501" y="2917458"/>
            <a:ext cx="1667192" cy="301621"/>
          </a:xfrm>
          <a:prstGeom prst="rect">
            <a:avLst/>
          </a:prstGeom>
          <a:solidFill>
            <a:srgbClr val="F5F5F4"/>
          </a:solidFill>
        </p:spPr>
        <p:txBody>
          <a:bodyPr wrap="square" lIns="0" tIns="27432" rIns="0" bIns="27432" rtlCol="0" anchor="ctr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7656AD"/>
                    </a:gs>
                    <a:gs pos="80000">
                      <a:srgbClr val="0A6BBA"/>
                    </a:gs>
                  </a:gsLst>
                  <a:lin ang="10800000" scaled="1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Copilot Studio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7656AD"/>
                  </a:gs>
                  <a:gs pos="80000">
                    <a:srgbClr val="0A6BBA"/>
                  </a:gs>
                </a:gsLst>
                <a:lin ang="10800000" scaled="1"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8247" name="Oval 8246">
            <a:extLst>
              <a:ext uri="{FF2B5EF4-FFF2-40B4-BE49-F238E27FC236}">
                <a16:creationId xmlns:a16="http://schemas.microsoft.com/office/drawing/2014/main" id="{A373EC5C-AD5B-1CD1-1F88-2CC5C48AC5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10381934" y="1930391"/>
            <a:ext cx="809942" cy="809940"/>
          </a:xfrm>
          <a:prstGeom prst="ellipse">
            <a:avLst/>
          </a:prstGeom>
          <a:solidFill>
            <a:schemeClr val="bg1"/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pic>
        <p:nvPicPr>
          <p:cNvPr id="8252" name="Picture 4" descr="Agents logo">
            <a:extLst>
              <a:ext uri="{FF2B5EF4-FFF2-40B4-BE49-F238E27FC236}">
                <a16:creationId xmlns:a16="http://schemas.microsoft.com/office/drawing/2014/main" id="{59AF0C50-B821-8233-0667-FE0C5CD5E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4333" y="2093841"/>
            <a:ext cx="505142" cy="48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92" name="TextBox 8291">
            <a:extLst>
              <a:ext uri="{FF2B5EF4-FFF2-40B4-BE49-F238E27FC236}">
                <a16:creationId xmlns:a16="http://schemas.microsoft.com/office/drawing/2014/main" id="{1A516C23-4E56-71BD-0675-44FD24FEB0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460693" y="2945158"/>
            <a:ext cx="652423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80000">
                      <a:srgbClr val="000000"/>
                    </a:gs>
                  </a:gsLst>
                  <a:lin ang="10800000" scaled="1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Agent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000000"/>
                  </a:gs>
                  <a:gs pos="80000">
                    <a:srgbClr val="000000"/>
                  </a:gs>
                </a:gsLst>
                <a:lin ang="10800000" scaled="1"/>
              </a:gra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8242" name="Double Brace 8241">
            <a:extLst>
              <a:ext uri="{FF2B5EF4-FFF2-40B4-BE49-F238E27FC236}">
                <a16:creationId xmlns:a16="http://schemas.microsoft.com/office/drawing/2014/main" id="{5886F071-2D62-C9B8-7D97-1F827BB291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40459" y="3744912"/>
            <a:ext cx="5375279" cy="1177731"/>
          </a:xfrm>
          <a:prstGeom prst="bracePair">
            <a:avLst>
              <a:gd name="adj" fmla="val 0"/>
            </a:avLst>
          </a:prstGeom>
          <a:solidFill>
            <a:srgbClr val="194449">
              <a:alpha val="10000"/>
            </a:srgb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280" name="TextBox 8279">
            <a:extLst>
              <a:ext uri="{FF2B5EF4-FFF2-40B4-BE49-F238E27FC236}">
                <a16:creationId xmlns:a16="http://schemas.microsoft.com/office/drawing/2014/main" id="{0B06E089-2DBD-25EB-6D3A-6589CFCD3E48}"/>
              </a:ext>
            </a:extLst>
          </p:cNvPr>
          <p:cNvSpPr txBox="1"/>
          <p:nvPr/>
        </p:nvSpPr>
        <p:spPr>
          <a:xfrm>
            <a:off x="6487317" y="3964445"/>
            <a:ext cx="925579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zure AI Foundry Models</a:t>
            </a:r>
          </a:p>
        </p:txBody>
      </p:sp>
      <p:grpSp>
        <p:nvGrpSpPr>
          <p:cNvPr id="30" name="Group 29" descr="O1, LLAMA, Phi-4, Claude, Gemini, GPT 4.1, DeepSeek, Mistral 3B">
            <a:extLst>
              <a:ext uri="{FF2B5EF4-FFF2-40B4-BE49-F238E27FC236}">
                <a16:creationId xmlns:a16="http://schemas.microsoft.com/office/drawing/2014/main" id="{ECF474D3-45A2-4DF1-0EBD-DDE8F692898F}"/>
              </a:ext>
            </a:extLst>
          </p:cNvPr>
          <p:cNvGrpSpPr/>
          <p:nvPr/>
        </p:nvGrpSpPr>
        <p:grpSpPr>
          <a:xfrm>
            <a:off x="7641998" y="3968306"/>
            <a:ext cx="3796666" cy="731470"/>
            <a:chOff x="7398076" y="3658551"/>
            <a:chExt cx="4126224" cy="994852"/>
          </a:xfrm>
          <a:solidFill>
            <a:schemeClr val="bg1"/>
          </a:solidFill>
        </p:grpSpPr>
        <p:sp>
          <p:nvSpPr>
            <p:cNvPr id="8272" name="Rectangle: Rounded Corners 8271">
              <a:extLst>
                <a:ext uri="{FF2B5EF4-FFF2-40B4-BE49-F238E27FC236}">
                  <a16:creationId xmlns:a16="http://schemas.microsoft.com/office/drawing/2014/main" id="{3DB0225C-6FDA-4EF7-3975-5E8C1997E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8076" y="3658551"/>
              <a:ext cx="962976" cy="451706"/>
            </a:xfrm>
            <a:prstGeom prst="roundRect">
              <a:avLst>
                <a:gd name="adj" fmla="val 848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1</a:t>
              </a:r>
            </a:p>
          </p:txBody>
        </p:sp>
        <p:sp>
          <p:nvSpPr>
            <p:cNvPr id="8273" name="Rectangle: Rounded Corners 8272">
              <a:extLst>
                <a:ext uri="{FF2B5EF4-FFF2-40B4-BE49-F238E27FC236}">
                  <a16:creationId xmlns:a16="http://schemas.microsoft.com/office/drawing/2014/main" id="{EE46A3F3-E647-F141-BDC0-A910220EC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493" y="3658551"/>
              <a:ext cx="962976" cy="451706"/>
            </a:xfrm>
            <a:prstGeom prst="roundRect">
              <a:avLst>
                <a:gd name="adj" fmla="val 848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LAMA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4" name="Rectangle: Rounded Corners 8273">
              <a:extLst>
                <a:ext uri="{FF2B5EF4-FFF2-40B4-BE49-F238E27FC236}">
                  <a16:creationId xmlns:a16="http://schemas.microsoft.com/office/drawing/2014/main" id="{D8748F8E-9DF6-AEEF-076B-801F4F413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6908" y="3658551"/>
              <a:ext cx="962976" cy="451706"/>
            </a:xfrm>
            <a:prstGeom prst="roundRect">
              <a:avLst>
                <a:gd name="adj" fmla="val 848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hi-4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5" name="Rectangle: Rounded Corners 8274">
              <a:extLst>
                <a:ext uri="{FF2B5EF4-FFF2-40B4-BE49-F238E27FC236}">
                  <a16:creationId xmlns:a16="http://schemas.microsoft.com/office/drawing/2014/main" id="{7F371946-DAA2-288B-4CBB-79B365192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1324" y="3658551"/>
              <a:ext cx="962976" cy="451706"/>
            </a:xfrm>
            <a:prstGeom prst="roundRect">
              <a:avLst>
                <a:gd name="adj" fmla="val 848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laude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6" name="Rectangle: Rounded Corners 8275">
              <a:extLst>
                <a:ext uri="{FF2B5EF4-FFF2-40B4-BE49-F238E27FC236}">
                  <a16:creationId xmlns:a16="http://schemas.microsoft.com/office/drawing/2014/main" id="{07AAF4AE-B02F-2E26-222F-32314FB6A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8076" y="4201697"/>
              <a:ext cx="962976" cy="451706"/>
            </a:xfrm>
            <a:prstGeom prst="roundRect">
              <a:avLst>
                <a:gd name="adj" fmla="val 848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Gemini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7" name="Rectangle: Rounded Corners 8276">
              <a:extLst>
                <a:ext uri="{FF2B5EF4-FFF2-40B4-BE49-F238E27FC236}">
                  <a16:creationId xmlns:a16="http://schemas.microsoft.com/office/drawing/2014/main" id="{B482D49B-010C-F97E-D080-35116FA56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493" y="4201697"/>
              <a:ext cx="962976" cy="451706"/>
            </a:xfrm>
            <a:prstGeom prst="roundRect">
              <a:avLst>
                <a:gd name="adj" fmla="val 848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GPT 4.1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8" name="Rectangle: Rounded Corners 8277">
              <a:extLst>
                <a:ext uri="{FF2B5EF4-FFF2-40B4-BE49-F238E27FC236}">
                  <a16:creationId xmlns:a16="http://schemas.microsoft.com/office/drawing/2014/main" id="{135672F9-9F84-C19B-F6BE-FCDD16A02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6908" y="4201697"/>
              <a:ext cx="962976" cy="451706"/>
            </a:xfrm>
            <a:prstGeom prst="roundRect">
              <a:avLst>
                <a:gd name="adj" fmla="val 848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eepSeek</a:t>
              </a:r>
            </a:p>
          </p:txBody>
        </p:sp>
        <p:sp>
          <p:nvSpPr>
            <p:cNvPr id="8279" name="Rectangle: Rounded Corners 8278">
              <a:extLst>
                <a:ext uri="{FF2B5EF4-FFF2-40B4-BE49-F238E27FC236}">
                  <a16:creationId xmlns:a16="http://schemas.microsoft.com/office/drawing/2014/main" id="{A3F39DC7-C5EE-88DC-0E4C-724BA7E27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1324" y="4201697"/>
              <a:ext cx="962976" cy="451706"/>
            </a:xfrm>
            <a:prstGeom prst="roundRect">
              <a:avLst>
                <a:gd name="adj" fmla="val 848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istral 3B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8287" name="Oval 8286">
            <a:extLst>
              <a:ext uri="{FF2B5EF4-FFF2-40B4-BE49-F238E27FC236}">
                <a16:creationId xmlns:a16="http://schemas.microsoft.com/office/drawing/2014/main" id="{D9D8F5AC-E064-6866-6343-5A83889030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7531429" y="5237355"/>
            <a:ext cx="798908" cy="798904"/>
          </a:xfrm>
          <a:prstGeom prst="ellipse">
            <a:avLst/>
          </a:prstGeom>
          <a:solidFill>
            <a:schemeClr val="bg1"/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pic>
        <p:nvPicPr>
          <p:cNvPr id="8244" name="Picture 4" descr="Azure AI Foundry Blog">
            <a:extLst>
              <a:ext uri="{FF2B5EF4-FFF2-40B4-BE49-F238E27FC236}">
                <a16:creationId xmlns:a16="http://schemas.microsoft.com/office/drawing/2014/main" id="{4E0AF22D-D51F-B0C6-41D4-087FB4615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226" y="5391150"/>
            <a:ext cx="491314" cy="491314"/>
          </a:xfrm>
          <a:prstGeom prst="rect">
            <a:avLst/>
          </a:prstGeom>
          <a:solidFill>
            <a:schemeClr val="bg1"/>
          </a:solidFill>
          <a:ln w="25400" cmpd="sng">
            <a:noFill/>
            <a:headEnd type="none" w="med" len="med"/>
            <a:tailEnd type="none" w="med" len="med"/>
          </a:ln>
          <a:effectLst/>
        </p:spPr>
      </p:pic>
      <p:sp>
        <p:nvSpPr>
          <p:cNvPr id="8243" name="TextBox 8242">
            <a:extLst>
              <a:ext uri="{FF2B5EF4-FFF2-40B4-BE49-F238E27FC236}">
                <a16:creationId xmlns:a16="http://schemas.microsoft.com/office/drawing/2014/main" id="{4D3C41F6-B638-D697-29F7-1E4948D1AD8A}"/>
              </a:ext>
            </a:extLst>
          </p:cNvPr>
          <p:cNvSpPr txBox="1"/>
          <p:nvPr/>
        </p:nvSpPr>
        <p:spPr>
          <a:xfrm>
            <a:off x="8525182" y="5482918"/>
            <a:ext cx="2024593" cy="307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zure AI Foundr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1548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8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8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8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8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8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8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"/>
                                        <p:tgtEl>
                                          <p:spTgt spid="8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"/>
                                        <p:tgtEl>
                                          <p:spTgt spid="8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"/>
                                        <p:tgtEl>
                                          <p:spTgt spid="8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"/>
                                        <p:tgtEl>
                                          <p:spTgt spid="8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"/>
                                        <p:tgtEl>
                                          <p:spTgt spid="8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"/>
                                        <p:tgtEl>
                                          <p:spTgt spid="8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"/>
                                        <p:tgtEl>
                                          <p:spTgt spid="8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"/>
                                        <p:tgtEl>
                                          <p:spTgt spid="8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"/>
                                        <p:tgtEl>
                                          <p:spTgt spid="82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"/>
                                        <p:tgtEl>
                                          <p:spTgt spid="8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"/>
                                        <p:tgtEl>
                                          <p:spTgt spid="82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"/>
                                        <p:tgtEl>
                                          <p:spTgt spid="8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"/>
                                        <p:tgtEl>
                                          <p:spTgt spid="8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2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6" grpId="0" animBg="1"/>
      <p:bldP spid="27" grpId="0"/>
      <p:bldP spid="8198" grpId="0" animBg="1"/>
      <p:bldP spid="8294" grpId="0" animBg="1"/>
      <p:bldP spid="13" grpId="0" animBg="1"/>
      <p:bldP spid="25" grpId="0" animBg="1"/>
      <p:bldP spid="18" grpId="0" animBg="1"/>
      <p:bldP spid="26" grpId="0" animBg="1"/>
      <p:bldP spid="21" grpId="0" animBg="1"/>
      <p:bldP spid="28" grpId="0" animBg="1"/>
      <p:bldP spid="22" grpId="0" animBg="1"/>
      <p:bldP spid="29" grpId="0" animBg="1"/>
      <p:bldP spid="17" grpId="0" animBg="1"/>
      <p:bldP spid="8248" grpId="0" animBg="1"/>
      <p:bldP spid="8291" grpId="0"/>
      <p:bldP spid="8246" grpId="0" animBg="1"/>
      <p:bldP spid="8293" grpId="0" animBg="1"/>
      <p:bldP spid="8247" grpId="0" animBg="1"/>
      <p:bldP spid="8292" grpId="0"/>
      <p:bldP spid="8242" grpId="0" animBg="1"/>
      <p:bldP spid="8280" grpId="0"/>
      <p:bldP spid="8287" grpId="0" animBg="1"/>
      <p:bldP spid="824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331774" y="2449151"/>
            <a:ext cx="7534800" cy="1284364"/>
          </a:xfrm>
          <a:prstGeom prst="rect">
            <a:avLst/>
          </a:prstGeom>
        </p:spPr>
        <p:txBody>
          <a:bodyPr vert="horz" wrap="square" lIns="0" tIns="586143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80" dirty="0">
                <a:latin typeface="Oswald SemiBold" panose="00000700000000000000" pitchFamily="2" charset="0"/>
              </a:rPr>
              <a:t>THANK</a:t>
            </a:r>
            <a:r>
              <a:rPr spc="295" dirty="0"/>
              <a:t> </a:t>
            </a:r>
            <a:r>
              <a:rPr spc="70" dirty="0"/>
              <a:t>YOU</a:t>
            </a:r>
            <a:r>
              <a:rPr spc="295" dirty="0"/>
              <a:t> </a:t>
            </a:r>
            <a:r>
              <a:rPr dirty="0"/>
              <a:t>TO</a:t>
            </a:r>
            <a:r>
              <a:rPr spc="295" dirty="0"/>
              <a:t> </a:t>
            </a:r>
            <a:r>
              <a:rPr spc="90" dirty="0"/>
              <a:t>OUR</a:t>
            </a:r>
            <a:r>
              <a:rPr spc="295" dirty="0"/>
              <a:t> </a:t>
            </a:r>
            <a:r>
              <a:rPr spc="100" dirty="0"/>
              <a:t>SPONSOR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911322" y="0"/>
            <a:ext cx="3281870" cy="3806391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dt" sz="half" idx="6"/>
          </p:nvPr>
        </p:nvSpPr>
        <p:spPr>
          <a:prstGeom prst="rect">
            <a:avLst/>
          </a:prstGeom>
        </p:spPr>
        <p:txBody>
          <a:bodyPr vert="horz" wrap="square" lIns="0" tIns="4953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3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4EBDC5"/>
                </a:solidFill>
                <a:effectLst/>
                <a:uLnTx/>
                <a:uFillTx/>
                <a:latin typeface="Oswald Medium"/>
              </a:rPr>
              <a:t>SOUTH</a:t>
            </a:r>
            <a:r>
              <a:rPr kumimoji="0" sz="1500" b="0" i="0" u="none" strike="noStrike" kern="0" cap="none" spc="-50" normalizeH="0" baseline="0" noProof="0" dirty="0">
                <a:ln>
                  <a:noFill/>
                </a:ln>
                <a:solidFill>
                  <a:srgbClr val="4EBDC5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4EBDC5"/>
                </a:solidFill>
                <a:effectLst/>
                <a:uLnTx/>
                <a:uFillTx/>
                <a:latin typeface="Oswald Medium"/>
              </a:rPr>
              <a:t>COAST</a:t>
            </a:r>
            <a:r>
              <a:rPr kumimoji="0" sz="1500" b="0" i="0" u="none" strike="noStrike" kern="0" cap="none" spc="-50" normalizeH="0" baseline="0" noProof="0" dirty="0">
                <a:ln>
                  <a:noFill/>
                </a:ln>
                <a:solidFill>
                  <a:srgbClr val="4EBDC5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-10" normalizeH="0" baseline="0" noProof="0" dirty="0">
                <a:ln>
                  <a:noFill/>
                </a:ln>
                <a:solidFill>
                  <a:srgbClr val="4EBDC5"/>
                </a:solidFill>
                <a:effectLst/>
                <a:uLnTx/>
                <a:uFillTx/>
                <a:latin typeface="Oswald Medium"/>
              </a:rPr>
              <a:t>SUMMIT</a:t>
            </a: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A</a:t>
            </a:r>
            <a:r>
              <a:rPr kumimoji="0" sz="1500" b="0" i="0" u="none" strike="noStrike" kern="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CLOUD</a:t>
            </a:r>
            <a:r>
              <a:rPr kumimoji="0" sz="1500" b="0" i="0" u="none" strike="noStrike" kern="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TECHNOLOGY</a:t>
            </a:r>
            <a:r>
              <a:rPr kumimoji="0" sz="1500" b="0" i="0" u="none" strike="noStrike" kern="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COMMUNITY</a:t>
            </a:r>
            <a:r>
              <a:rPr kumimoji="0" sz="1500" b="0" i="0" u="none" strike="noStrike" kern="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 </a:t>
            </a:r>
            <a:r>
              <a:rPr kumimoji="0" sz="1500" b="0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swald Medium"/>
              </a:rPr>
              <a:t>CONFERENCE</a:t>
            </a:r>
          </a:p>
        </p:txBody>
      </p:sp>
      <p:sp>
        <p:nvSpPr>
          <p:cNvPr id="5" name="object 5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swald Medium"/>
              </a:rPr>
              <a:t>#SCS2025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52D686-547C-2529-ECE9-22A1A5A815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4">
            <a:extLst>
              <a:ext uri="{FF2B5EF4-FFF2-40B4-BE49-F238E27FC236}">
                <a16:creationId xmlns:a16="http://schemas.microsoft.com/office/drawing/2014/main" id="{29792709-B4B2-85AE-4D3E-99B5E3DB58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6382" y="457200"/>
            <a:ext cx="10279831" cy="554038"/>
          </a:xfrm>
        </p:spPr>
        <p:txBody>
          <a:bodyPr wrap="square">
            <a:spAutoFit/>
          </a:bodyPr>
          <a:lstStyle/>
          <a:p>
            <a:pPr lvl="0"/>
            <a:r>
              <a:rPr lang="en-US" dirty="0">
                <a:cs typeface="Segoe UI"/>
              </a:rPr>
              <a:t>Analytics &amp; Insights 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3AE7482-1CF5-41AD-0471-3E7D51A42B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787" y="438723"/>
            <a:ext cx="559729" cy="5597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6B8C8CD-7ED3-7960-C327-1A76CF0DC5DB}"/>
              </a:ext>
            </a:extLst>
          </p:cNvPr>
          <p:cNvSpPr txBox="1"/>
          <p:nvPr/>
        </p:nvSpPr>
        <p:spPr>
          <a:xfrm>
            <a:off x="588963" y="1436688"/>
            <a:ext cx="3383280" cy="707886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Gain visibility into how your autonomous agents perfor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AB0C50-88CB-8E82-1DE4-A938286D3BF6}"/>
              </a:ext>
            </a:extLst>
          </p:cNvPr>
          <p:cNvSpPr txBox="1"/>
          <p:nvPr/>
        </p:nvSpPr>
        <p:spPr>
          <a:xfrm>
            <a:off x="585786" y="2410747"/>
            <a:ext cx="3521393" cy="341632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Top KPI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Total run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A6BBA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or the report peri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Breakdow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y successful &amp; failed ru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Trend analysi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ver-time to easily identify areas that require close atten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Averag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un dur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Consumption analysi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nderstand costs related to your agent in a detailed billing consumption repor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ssage consumption over tim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reakdown between type of even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lt"/>
              <a:cs typeface="Segoe UI" panose="020B0502040204020203" pitchFamily="34" charset="0"/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0342355A-634D-57A1-932E-21C28764EB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218296" y="935831"/>
            <a:ext cx="2680017" cy="500614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0"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90C431-4E20-0323-1533-B3FC3164714A}"/>
              </a:ext>
            </a:extLst>
          </p:cNvPr>
          <p:cNvSpPr txBox="1"/>
          <p:nvPr/>
        </p:nvSpPr>
        <p:spPr>
          <a:xfrm>
            <a:off x="9298623" y="1032250"/>
            <a:ext cx="251936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Generally availa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2AF60B1-9822-6A15-559E-1896EA50CD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546570" y="1436688"/>
            <a:ext cx="8229630" cy="4621211"/>
          </a:xfrm>
          <a:prstGeom prst="roundRect">
            <a:avLst>
              <a:gd name="adj" fmla="val 7196"/>
            </a:avLst>
          </a:prstGeom>
          <a:solidFill>
            <a:srgbClr val="194449">
              <a:alpha val="10000"/>
            </a:srgbClr>
          </a:solidFill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1600" spc="-20">
                <a:ln w="3175">
                  <a:noFill/>
                </a:ln>
                <a:gradFill>
                  <a:gsLst>
                    <a:gs pos="0">
                      <a:srgbClr val="0078D4"/>
                    </a:gs>
                    <a:gs pos="80000">
                      <a:srgbClr val="399A91"/>
                    </a:gs>
                  </a:gsLst>
                  <a:path path="circle">
                    <a:fillToRect l="100000" t="100000"/>
                  </a:path>
                </a:gradFill>
                <a:latin typeface="Segoe UI Semibold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-20" normalizeH="0" baseline="0" noProof="0">
              <a:ln w="3175">
                <a:noFill/>
              </a:ln>
              <a:gradFill>
                <a:gsLst>
                  <a:gs pos="0">
                    <a:srgbClr val="0078D4"/>
                  </a:gs>
                  <a:gs pos="80000">
                    <a:srgbClr val="399A91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5" name="Picture 4" descr="Screenshot of Copilot Studio lead qualifications dashboard">
            <a:extLst>
              <a:ext uri="{FF2B5EF4-FFF2-40B4-BE49-F238E27FC236}">
                <a16:creationId xmlns:a16="http://schemas.microsoft.com/office/drawing/2014/main" id="{41B1DB6C-318B-8DED-0E17-4E3317DBEB8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090" r="4829" b="976"/>
          <a:stretch>
            <a:fillRect/>
          </a:stretch>
        </p:blipFill>
        <p:spPr>
          <a:xfrm>
            <a:off x="4786685" y="1697799"/>
            <a:ext cx="7111628" cy="4098989"/>
          </a:xfrm>
          <a:prstGeom prst="roundRect">
            <a:avLst>
              <a:gd name="adj" fmla="val 2464"/>
            </a:avLst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9337764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" grpId="0"/>
      <p:bldP spid="7" grpId="0"/>
      <p:bldP spid="8" grpId="0" animBg="1"/>
      <p:bldP spid="9" grpId="0"/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9769BE-993D-B8C9-0BBE-B78FF605C6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4">
            <a:extLst>
              <a:ext uri="{FF2B5EF4-FFF2-40B4-BE49-F238E27FC236}">
                <a16:creationId xmlns:a16="http://schemas.microsoft.com/office/drawing/2014/main" id="{9960E6E6-4E8E-6E17-D858-D27EFCDA9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6382" y="457200"/>
            <a:ext cx="10279831" cy="554038"/>
          </a:xfrm>
        </p:spPr>
        <p:txBody>
          <a:bodyPr wrap="square">
            <a:spAutoFit/>
          </a:bodyPr>
          <a:lstStyle/>
          <a:p>
            <a:pPr lvl="0"/>
            <a:r>
              <a:rPr lang="en-US" dirty="0">
                <a:cs typeface="Segoe UI"/>
              </a:rPr>
              <a:t>Analytics &amp; Insights 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BC82A6D-541D-D02A-8924-75DBF464F9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787" y="438723"/>
            <a:ext cx="559729" cy="5597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F73EDA7-E4DF-7397-FBB5-83068E73C448}"/>
              </a:ext>
            </a:extLst>
          </p:cNvPr>
          <p:cNvSpPr txBox="1"/>
          <p:nvPr/>
        </p:nvSpPr>
        <p:spPr>
          <a:xfrm>
            <a:off x="588963" y="1436688"/>
            <a:ext cx="3383280" cy="707886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Get visibility to how your autonomous agents perfor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BB14E2-838A-8BED-6CEC-7DAB3DE07310}"/>
              </a:ext>
            </a:extLst>
          </p:cNvPr>
          <p:cNvSpPr txBox="1"/>
          <p:nvPr/>
        </p:nvSpPr>
        <p:spPr>
          <a:xfrm>
            <a:off x="585786" y="2408465"/>
            <a:ext cx="3521393" cy="13388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Agent Healt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view agent run trends over ti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uration analysis, split by successful and failed ru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uration trends over time analysis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B16113BD-7AAF-1884-7A5A-9A09D7711F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218296" y="935831"/>
            <a:ext cx="2680017" cy="500614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0"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8AFD1F-3178-E221-C1D8-4A1B50F817D5}"/>
              </a:ext>
            </a:extLst>
          </p:cNvPr>
          <p:cNvSpPr txBox="1"/>
          <p:nvPr/>
        </p:nvSpPr>
        <p:spPr>
          <a:xfrm>
            <a:off x="9298623" y="1032250"/>
            <a:ext cx="251936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Generally availa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E391A-93AA-5D33-03AF-1219A69F4D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546570" y="1436688"/>
            <a:ext cx="8229630" cy="4621211"/>
          </a:xfrm>
          <a:prstGeom prst="roundRect">
            <a:avLst>
              <a:gd name="adj" fmla="val 7196"/>
            </a:avLst>
          </a:prstGeom>
          <a:solidFill>
            <a:srgbClr val="194449">
              <a:alpha val="10000"/>
            </a:srgbClr>
          </a:solidFill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1600" spc="-20">
                <a:ln w="3175">
                  <a:noFill/>
                </a:ln>
                <a:gradFill>
                  <a:gsLst>
                    <a:gs pos="0">
                      <a:srgbClr val="0078D4"/>
                    </a:gs>
                    <a:gs pos="80000">
                      <a:srgbClr val="399A91"/>
                    </a:gs>
                  </a:gsLst>
                  <a:path path="circle">
                    <a:fillToRect l="100000" t="100000"/>
                  </a:path>
                </a:gradFill>
                <a:latin typeface="Segoe UI Semibold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-20" normalizeH="0" baseline="0" noProof="0">
              <a:ln w="3175">
                <a:noFill/>
              </a:ln>
              <a:gradFill>
                <a:gsLst>
                  <a:gs pos="0">
                    <a:srgbClr val="0078D4"/>
                  </a:gs>
                  <a:gs pos="80000">
                    <a:srgbClr val="399A91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" name="Picture 2" descr="Screenshot of Copilot Studio Lead Qualifications agent health dashboard">
            <a:extLst>
              <a:ext uri="{FF2B5EF4-FFF2-40B4-BE49-F238E27FC236}">
                <a16:creationId xmlns:a16="http://schemas.microsoft.com/office/drawing/2014/main" id="{7D56A3B7-5F97-35ED-5956-3855739DBA8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297" t="377" r="4081" b="839"/>
          <a:stretch>
            <a:fillRect/>
          </a:stretch>
        </p:blipFill>
        <p:spPr>
          <a:xfrm>
            <a:off x="4765993" y="1677606"/>
            <a:ext cx="7132320" cy="4139375"/>
          </a:xfrm>
          <a:prstGeom prst="roundRect">
            <a:avLst>
              <a:gd name="adj" fmla="val 1912"/>
            </a:avLst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48438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E20CE4-5BE5-A459-2BC5-D5659C88F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4">
            <a:extLst>
              <a:ext uri="{FF2B5EF4-FFF2-40B4-BE49-F238E27FC236}">
                <a16:creationId xmlns:a16="http://schemas.microsoft.com/office/drawing/2014/main" id="{2C00FC86-91DF-E75B-DB58-E5ACA3360E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6382" y="457200"/>
            <a:ext cx="10279831" cy="554038"/>
          </a:xfrm>
        </p:spPr>
        <p:txBody>
          <a:bodyPr wrap="square">
            <a:spAutoFit/>
          </a:bodyPr>
          <a:lstStyle/>
          <a:p>
            <a:pPr lvl="0"/>
            <a:r>
              <a:rPr lang="en-US" dirty="0">
                <a:cs typeface="Segoe UI"/>
              </a:rPr>
              <a:t>Analytics &amp; Insights 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E544635-60AA-712D-8F66-E50DFE8111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787" y="438723"/>
            <a:ext cx="559729" cy="5597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CFAD4A0-28BB-0FEA-E686-04AFAEA3742C}"/>
              </a:ext>
            </a:extLst>
          </p:cNvPr>
          <p:cNvSpPr txBox="1"/>
          <p:nvPr/>
        </p:nvSpPr>
        <p:spPr>
          <a:xfrm>
            <a:off x="588963" y="1436688"/>
            <a:ext cx="3383280" cy="707886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3175">
                  <a:noFill/>
                </a:ln>
                <a:gradFill>
                  <a:gsLst>
                    <a:gs pos="80000">
                      <a:srgbClr val="0A6BBA"/>
                    </a:gs>
                    <a:gs pos="0">
                      <a:srgbClr val="7656AD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Get visibility to how your autonomous agents perfor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A79FBE-E376-6F6B-0669-903559278C17}"/>
              </a:ext>
            </a:extLst>
          </p:cNvPr>
          <p:cNvSpPr txBox="1"/>
          <p:nvPr/>
        </p:nvSpPr>
        <p:spPr>
          <a:xfrm>
            <a:off x="585786" y="2410747"/>
            <a:ext cx="3521393" cy="189282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Trigger usa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iew agent runs by different trigg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uccess rate for each trig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Tool usa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e how different tools are perform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A6BB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ol usage over time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9531619C-BAEC-372B-63BA-B30553A29B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218296" y="935831"/>
            <a:ext cx="2680017" cy="500614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0">
            <a:gsLst>
              <a:gs pos="80000">
                <a:srgbClr val="0A6BBA"/>
              </a:gs>
              <a:gs pos="0">
                <a:srgbClr val="7656A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D153FC-C0B5-3B0D-96B2-4AB1020BEA51}"/>
              </a:ext>
            </a:extLst>
          </p:cNvPr>
          <p:cNvSpPr txBox="1"/>
          <p:nvPr/>
        </p:nvSpPr>
        <p:spPr>
          <a:xfrm>
            <a:off x="9298623" y="1032250"/>
            <a:ext cx="251936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Generally availa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40EE84-8840-CEFD-9607-7488D55AA1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546570" y="1436688"/>
            <a:ext cx="8229630" cy="4621211"/>
          </a:xfrm>
          <a:prstGeom prst="roundRect">
            <a:avLst>
              <a:gd name="adj" fmla="val 7196"/>
            </a:avLst>
          </a:prstGeom>
          <a:solidFill>
            <a:srgbClr val="194449">
              <a:alpha val="10000"/>
            </a:srgbClr>
          </a:solidFill>
          <a:ln w="19050" cap="rnd">
            <a:gradFill flip="none" rotWithShape="1">
              <a:gsLst>
                <a:gs pos="0">
                  <a:srgbClr val="7656AD"/>
                </a:gs>
                <a:gs pos="80000">
                  <a:srgbClr val="0A6BBA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spcBef>
                <a:spcPct val="0"/>
              </a:spcBef>
              <a:spcAft>
                <a:spcPct val="0"/>
              </a:spcAft>
              <a:defRPr sz="1600" spc="-20">
                <a:ln w="3175">
                  <a:noFill/>
                </a:ln>
                <a:gradFill>
                  <a:gsLst>
                    <a:gs pos="0">
                      <a:srgbClr val="0078D4"/>
                    </a:gs>
                    <a:gs pos="80000">
                      <a:srgbClr val="399A91"/>
                    </a:gs>
                  </a:gsLst>
                  <a:path path="circle">
                    <a:fillToRect l="100000" t="100000"/>
                  </a:path>
                </a:gradFill>
                <a:latin typeface="Segoe UI Semibold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-20" normalizeH="0" baseline="0" noProof="0">
              <a:ln w="3175">
                <a:noFill/>
              </a:ln>
              <a:gradFill>
                <a:gsLst>
                  <a:gs pos="0">
                    <a:srgbClr val="0078D4"/>
                  </a:gs>
                  <a:gs pos="80000">
                    <a:srgbClr val="399A91"/>
                  </a:gs>
                </a:gsLst>
                <a:path path="circle">
                  <a:fillToRect l="100000" t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" name="Picture 2" descr="Screenshot of Copilot Studio Lead Qualification usage - Trigger use and tool use dashboard">
            <a:extLst>
              <a:ext uri="{FF2B5EF4-FFF2-40B4-BE49-F238E27FC236}">
                <a16:creationId xmlns:a16="http://schemas.microsoft.com/office/drawing/2014/main" id="{0D8C7EEB-28D1-5257-BF2F-1C5849CBE8B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287" t="404" r="4199" b="685"/>
          <a:stretch>
            <a:fillRect/>
          </a:stretch>
        </p:blipFill>
        <p:spPr>
          <a:xfrm>
            <a:off x="4765993" y="1677606"/>
            <a:ext cx="7132320" cy="4139375"/>
          </a:xfrm>
          <a:prstGeom prst="roundRect">
            <a:avLst>
              <a:gd name="adj" fmla="val 3385"/>
            </a:avLst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439502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D24055-ADB7-04A2-4316-FC0B587CC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Instructions</a:t>
            </a:r>
            <a:endParaRPr lang="en-N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0A9C56-9E57-B55C-D1AA-5A5DF67F78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2381" y="1959195"/>
            <a:ext cx="7467238" cy="4606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7155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63286-4FC9-A73A-24E0-CF5E96F4BD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7FAFC-600B-2FD9-8733-715FBE42D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01</a:t>
            </a:r>
            <a:endParaRPr lang="en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709404-4FF5-109A-D679-A631D47DCBC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Setup</a:t>
            </a:r>
          </a:p>
          <a:p>
            <a:endParaRPr lang="en-US" sz="3200" dirty="0">
              <a:solidFill>
                <a:schemeClr val="accent1"/>
              </a:solidFill>
            </a:endParaRPr>
          </a:p>
          <a:p>
            <a:r>
              <a:rPr lang="en-US" sz="3200" dirty="0">
                <a:solidFill>
                  <a:schemeClr val="accent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ka.ms/scs25-copilot-studio</a:t>
            </a:r>
            <a:r>
              <a:rPr lang="en-US" sz="3200" dirty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67242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AD2C8D04-263D-9589-1CFF-A5968D7C3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pic>
        <p:nvPicPr>
          <p:cNvPr id="14" name="图片占位符 13" descr="People working in office">
            <a:extLst>
              <a:ext uri="{FF2B5EF4-FFF2-40B4-BE49-F238E27FC236}">
                <a16:creationId xmlns:a16="http://schemas.microsoft.com/office/drawing/2014/main" id="{496155F4-61B2-441D-9F16-788866450DA2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6" name="图片占位符 15" descr="People in an office discussing work over a laptop&#10;">
            <a:extLst>
              <a:ext uri="{FF2B5EF4-FFF2-40B4-BE49-F238E27FC236}">
                <a16:creationId xmlns:a16="http://schemas.microsoft.com/office/drawing/2014/main" id="{BCD5762E-DD49-42B3-9CA8-46A4AD7193E2}"/>
              </a:ext>
            </a:extLst>
          </p:cNvPr>
          <p:cNvPicPr>
            <a:picLocks noGrp="1" noChangeAspect="1"/>
          </p:cNvPicPr>
          <p:nvPr>
            <p:ph type="pic" sz="quarter" idx="48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8" name="图片占位符 17" descr="Layout of website design sketches on white paper">
            <a:extLst>
              <a:ext uri="{FF2B5EF4-FFF2-40B4-BE49-F238E27FC236}">
                <a16:creationId xmlns:a16="http://schemas.microsoft.com/office/drawing/2014/main" id="{1051CD21-1408-4D13-BF0B-0D7013AD2D0C}"/>
              </a:ext>
            </a:extLst>
          </p:cNvPr>
          <p:cNvPicPr>
            <a:picLocks noGrp="1" noChangeAspect="1"/>
          </p:cNvPicPr>
          <p:nvPr>
            <p:ph type="pic" sz="quarter" idx="51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93E4D5-4AD0-4740-096D-6822944C8FF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31280" y="2119250"/>
            <a:ext cx="5028261" cy="959883"/>
          </a:xfrm>
        </p:spPr>
        <p:txBody>
          <a:bodyPr/>
          <a:lstStyle/>
          <a:p>
            <a:r>
              <a:rPr lang="en-US" dirty="0"/>
              <a:t>Please provide feedback</a:t>
            </a:r>
          </a:p>
        </p:txBody>
      </p:sp>
      <p:pic>
        <p:nvPicPr>
          <p:cNvPr id="28" name="Picture Placeholder 27" descr="Businesswoman reviewing sticky notes on a wall">
            <a:extLst>
              <a:ext uri="{FF2B5EF4-FFF2-40B4-BE49-F238E27FC236}">
                <a16:creationId xmlns:a16="http://schemas.microsoft.com/office/drawing/2014/main" id="{B746A775-E65C-70F6-9DB4-E51F7F2DAECE}"/>
              </a:ext>
            </a:extLst>
          </p:cNvPr>
          <p:cNvPicPr>
            <a:picLocks noGrp="1" noChangeAspect="1"/>
          </p:cNvPicPr>
          <p:nvPr>
            <p:ph type="pic" sz="quarter" idx="5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29279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g object 16">
            <a:extLst>
              <a:ext uri="{FF2B5EF4-FFF2-40B4-BE49-F238E27FC236}">
                <a16:creationId xmlns:a16="http://schemas.microsoft.com/office/drawing/2014/main" id="{FA0751DF-6E93-367D-8563-F9929B44ED6D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82742" y="3900298"/>
            <a:ext cx="1758856" cy="648000"/>
          </a:xfrm>
          <a:prstGeom prst="rect">
            <a:avLst/>
          </a:prstGeom>
        </p:spPr>
      </p:pic>
      <p:pic>
        <p:nvPicPr>
          <p:cNvPr id="8" name="bg object 17">
            <a:extLst>
              <a:ext uri="{FF2B5EF4-FFF2-40B4-BE49-F238E27FC236}">
                <a16:creationId xmlns:a16="http://schemas.microsoft.com/office/drawing/2014/main" id="{95B616BD-BC65-0D7C-59AD-4111BAA0AE6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1923" y="2995971"/>
            <a:ext cx="1954287" cy="720000"/>
          </a:xfrm>
          <a:prstGeom prst="rect">
            <a:avLst/>
          </a:prstGeom>
        </p:spPr>
      </p:pic>
      <p:pic>
        <p:nvPicPr>
          <p:cNvPr id="9" name="bg object 18">
            <a:extLst>
              <a:ext uri="{FF2B5EF4-FFF2-40B4-BE49-F238E27FC236}">
                <a16:creationId xmlns:a16="http://schemas.microsoft.com/office/drawing/2014/main" id="{AE93EDEB-6A74-C614-12DA-AFFCA79F141D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457663" y="1400439"/>
            <a:ext cx="2638337" cy="972000"/>
          </a:xfrm>
          <a:prstGeom prst="rect">
            <a:avLst/>
          </a:prstGeom>
        </p:spPr>
      </p:pic>
      <p:pic>
        <p:nvPicPr>
          <p:cNvPr id="14" name="bg object 23">
            <a:extLst>
              <a:ext uri="{FF2B5EF4-FFF2-40B4-BE49-F238E27FC236}">
                <a16:creationId xmlns:a16="http://schemas.microsoft.com/office/drawing/2014/main" id="{87D8A918-E24D-81B6-EBB8-3886FF780E29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61872" y="4809561"/>
            <a:ext cx="1758858" cy="648000"/>
          </a:xfrm>
          <a:prstGeom prst="rect">
            <a:avLst/>
          </a:prstGeom>
        </p:spPr>
      </p:pic>
      <p:pic>
        <p:nvPicPr>
          <p:cNvPr id="16" name="bg object 25">
            <a:extLst>
              <a:ext uri="{FF2B5EF4-FFF2-40B4-BE49-F238E27FC236}">
                <a16:creationId xmlns:a16="http://schemas.microsoft.com/office/drawing/2014/main" id="{15C1CBDC-C581-00E9-9FE3-A0B12DD5D2E7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365169" y="3875965"/>
            <a:ext cx="1758887" cy="648000"/>
          </a:xfrm>
          <a:prstGeom prst="rect">
            <a:avLst/>
          </a:prstGeom>
        </p:spPr>
      </p:pic>
      <p:pic>
        <p:nvPicPr>
          <p:cNvPr id="17" name="bg object 26">
            <a:extLst>
              <a:ext uri="{FF2B5EF4-FFF2-40B4-BE49-F238E27FC236}">
                <a16:creationId xmlns:a16="http://schemas.microsoft.com/office/drawing/2014/main" id="{78FC5AA5-D1A6-9028-5C49-CB9B1E663C95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21923" y="5702240"/>
            <a:ext cx="1758858" cy="648000"/>
          </a:xfrm>
          <a:prstGeom prst="rect">
            <a:avLst/>
          </a:prstGeom>
        </p:spPr>
      </p:pic>
      <p:pic>
        <p:nvPicPr>
          <p:cNvPr id="19" name="bg object 28">
            <a:extLst>
              <a:ext uri="{FF2B5EF4-FFF2-40B4-BE49-F238E27FC236}">
                <a16:creationId xmlns:a16="http://schemas.microsoft.com/office/drawing/2014/main" id="{7DA4843C-59F4-2523-900C-A096EAEE4CA9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472987" y="3014208"/>
            <a:ext cx="1954287" cy="720000"/>
          </a:xfrm>
          <a:prstGeom prst="rect">
            <a:avLst/>
          </a:prstGeom>
        </p:spPr>
      </p:pic>
      <p:pic>
        <p:nvPicPr>
          <p:cNvPr id="21" name="bg object 30">
            <a:extLst>
              <a:ext uri="{FF2B5EF4-FFF2-40B4-BE49-F238E27FC236}">
                <a16:creationId xmlns:a16="http://schemas.microsoft.com/office/drawing/2014/main" id="{4CAE1AB5-87F1-4444-5929-EBA88D07AF6A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0007225" y="4774677"/>
            <a:ext cx="1758900" cy="648000"/>
          </a:xfrm>
          <a:prstGeom prst="rect">
            <a:avLst/>
          </a:prstGeom>
        </p:spPr>
      </p:pic>
      <p:pic>
        <p:nvPicPr>
          <p:cNvPr id="22" name="bg object 31">
            <a:extLst>
              <a:ext uri="{FF2B5EF4-FFF2-40B4-BE49-F238E27FC236}">
                <a16:creationId xmlns:a16="http://schemas.microsoft.com/office/drawing/2014/main" id="{AAD873D3-34C3-9EF0-BE5E-E0F93949157D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714873" y="5738422"/>
            <a:ext cx="1758858" cy="648000"/>
          </a:xfrm>
          <a:prstGeom prst="rect">
            <a:avLst/>
          </a:prstGeom>
        </p:spPr>
      </p:pic>
      <p:pic>
        <p:nvPicPr>
          <p:cNvPr id="25" name="bg object 34">
            <a:extLst>
              <a:ext uri="{FF2B5EF4-FFF2-40B4-BE49-F238E27FC236}">
                <a16:creationId xmlns:a16="http://schemas.microsoft.com/office/drawing/2014/main" id="{A25DCE75-9F05-509D-3782-BD7C21AC6102}"/>
              </a:ext>
            </a:extLst>
          </p:cNvPr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857665" y="3968608"/>
            <a:ext cx="1758858" cy="648000"/>
          </a:xfrm>
          <a:prstGeom prst="rect">
            <a:avLst/>
          </a:prstGeom>
        </p:spPr>
      </p:pic>
      <p:pic>
        <p:nvPicPr>
          <p:cNvPr id="26" name="bg object 35">
            <a:extLst>
              <a:ext uri="{FF2B5EF4-FFF2-40B4-BE49-F238E27FC236}">
                <a16:creationId xmlns:a16="http://schemas.microsoft.com/office/drawing/2014/main" id="{0FB902A3-DF1A-2961-65BA-D044261FAF08}"/>
              </a:ext>
            </a:extLst>
          </p:cNvPr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121460" y="2995971"/>
            <a:ext cx="1954287" cy="720000"/>
          </a:xfrm>
          <a:prstGeom prst="rect">
            <a:avLst/>
          </a:prstGeom>
        </p:spPr>
      </p:pic>
      <p:pic>
        <p:nvPicPr>
          <p:cNvPr id="28" name="bg object 37">
            <a:extLst>
              <a:ext uri="{FF2B5EF4-FFF2-40B4-BE49-F238E27FC236}">
                <a16:creationId xmlns:a16="http://schemas.microsoft.com/office/drawing/2014/main" id="{CF14206C-FFDF-C97B-B53F-44163EE3814F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615409" y="2349259"/>
            <a:ext cx="1954284" cy="720000"/>
          </a:xfrm>
          <a:prstGeom prst="rect">
            <a:avLst/>
          </a:prstGeom>
        </p:spPr>
      </p:pic>
      <p:pic>
        <p:nvPicPr>
          <p:cNvPr id="30" name="bg object 39">
            <a:extLst>
              <a:ext uri="{FF2B5EF4-FFF2-40B4-BE49-F238E27FC236}">
                <a16:creationId xmlns:a16="http://schemas.microsoft.com/office/drawing/2014/main" id="{B6220B15-37F0-3B6F-AD6D-37C31D45CCB6}"/>
              </a:ext>
            </a:extLst>
          </p:cNvPr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2917416" y="3900298"/>
            <a:ext cx="1758856" cy="648000"/>
          </a:xfrm>
          <a:prstGeom prst="rect">
            <a:avLst/>
          </a:prstGeom>
        </p:spPr>
      </p:pic>
      <p:pic>
        <p:nvPicPr>
          <p:cNvPr id="37" name="bg object 46">
            <a:extLst>
              <a:ext uri="{FF2B5EF4-FFF2-40B4-BE49-F238E27FC236}">
                <a16:creationId xmlns:a16="http://schemas.microsoft.com/office/drawing/2014/main" id="{45F6367F-411A-8CF1-739F-DAAE01A9E1BD}"/>
              </a:ext>
            </a:extLst>
          </p:cNvPr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527300" y="1362814"/>
            <a:ext cx="2638337" cy="972000"/>
          </a:xfrm>
          <a:prstGeom prst="rect">
            <a:avLst/>
          </a:prstGeom>
        </p:spPr>
      </p:pic>
      <p:pic>
        <p:nvPicPr>
          <p:cNvPr id="39" name="bg object 48">
            <a:extLst>
              <a:ext uri="{FF2B5EF4-FFF2-40B4-BE49-F238E27FC236}">
                <a16:creationId xmlns:a16="http://schemas.microsoft.com/office/drawing/2014/main" id="{CECD598A-62E7-0A2D-02C2-052DB76CDB59}"/>
              </a:ext>
            </a:extLst>
          </p:cNvPr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5113157" y="3903017"/>
            <a:ext cx="1758858" cy="648000"/>
          </a:xfrm>
          <a:prstGeom prst="rect">
            <a:avLst/>
          </a:prstGeom>
        </p:spPr>
      </p:pic>
      <p:pic>
        <p:nvPicPr>
          <p:cNvPr id="40" name="bg object 49">
            <a:extLst>
              <a:ext uri="{FF2B5EF4-FFF2-40B4-BE49-F238E27FC236}">
                <a16:creationId xmlns:a16="http://schemas.microsoft.com/office/drawing/2014/main" id="{406872A8-3B46-DA6C-1506-A07C40EA190A}"/>
              </a:ext>
            </a:extLst>
          </p:cNvPr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6388026" y="2349259"/>
            <a:ext cx="1954287" cy="720000"/>
          </a:xfrm>
          <a:prstGeom prst="rect">
            <a:avLst/>
          </a:prstGeom>
        </p:spPr>
      </p:pic>
      <p:pic>
        <p:nvPicPr>
          <p:cNvPr id="45" name="bg object 54">
            <a:extLst>
              <a:ext uri="{FF2B5EF4-FFF2-40B4-BE49-F238E27FC236}">
                <a16:creationId xmlns:a16="http://schemas.microsoft.com/office/drawing/2014/main" id="{41275C75-040F-D347-D9BE-75E196837B36}"/>
              </a:ext>
            </a:extLst>
          </p:cNvPr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2803318" y="5729940"/>
            <a:ext cx="1758858" cy="648000"/>
          </a:xfrm>
          <a:prstGeom prst="rect">
            <a:avLst/>
          </a:prstGeom>
        </p:spPr>
      </p:pic>
      <p:pic>
        <p:nvPicPr>
          <p:cNvPr id="48" name="bg object 57">
            <a:extLst>
              <a:ext uri="{FF2B5EF4-FFF2-40B4-BE49-F238E27FC236}">
                <a16:creationId xmlns:a16="http://schemas.microsoft.com/office/drawing/2014/main" id="{AEEAD895-E88F-DA84-723B-A78C3515F665}"/>
              </a:ext>
            </a:extLst>
          </p:cNvPr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2671158" y="4809561"/>
            <a:ext cx="1758858" cy="648000"/>
          </a:xfrm>
          <a:prstGeom prst="rect">
            <a:avLst/>
          </a:prstGeom>
        </p:spPr>
      </p:pic>
      <p:pic>
        <p:nvPicPr>
          <p:cNvPr id="51" name="bg object 60">
            <a:extLst>
              <a:ext uri="{FF2B5EF4-FFF2-40B4-BE49-F238E27FC236}">
                <a16:creationId xmlns:a16="http://schemas.microsoft.com/office/drawing/2014/main" id="{E2F21833-256F-5C01-9FE7-F290FDFDCD1E}"/>
              </a:ext>
            </a:extLst>
          </p:cNvPr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3452873" y="2366479"/>
            <a:ext cx="1954287" cy="720000"/>
          </a:xfrm>
          <a:prstGeom prst="rect">
            <a:avLst/>
          </a:prstGeom>
        </p:spPr>
      </p:pic>
      <p:pic>
        <p:nvPicPr>
          <p:cNvPr id="52" name="bg object 61">
            <a:extLst>
              <a:ext uri="{FF2B5EF4-FFF2-40B4-BE49-F238E27FC236}">
                <a16:creationId xmlns:a16="http://schemas.microsoft.com/office/drawing/2014/main" id="{A6EF8581-5500-A010-C86D-A416E144A694}"/>
              </a:ext>
            </a:extLst>
          </p:cNvPr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7903379" y="4765801"/>
            <a:ext cx="1758866" cy="648000"/>
          </a:xfrm>
          <a:prstGeom prst="rect">
            <a:avLst/>
          </a:prstGeom>
        </p:spPr>
      </p:pic>
      <p:pic>
        <p:nvPicPr>
          <p:cNvPr id="53" name="bg object 62">
            <a:extLst>
              <a:ext uri="{FF2B5EF4-FFF2-40B4-BE49-F238E27FC236}">
                <a16:creationId xmlns:a16="http://schemas.microsoft.com/office/drawing/2014/main" id="{92F44C39-2C4D-BDB0-716E-FCFAF3414340}"/>
              </a:ext>
            </a:extLst>
          </p:cNvPr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8782812" y="2354056"/>
            <a:ext cx="1954282" cy="720000"/>
          </a:xfrm>
          <a:prstGeom prst="rect">
            <a:avLst/>
          </a:prstGeom>
        </p:spPr>
      </p:pic>
      <p:sp>
        <p:nvSpPr>
          <p:cNvPr id="62" name="Holder 2">
            <a:extLst>
              <a:ext uri="{FF2B5EF4-FFF2-40B4-BE49-F238E27FC236}">
                <a16:creationId xmlns:a16="http://schemas.microsoft.com/office/drawing/2014/main" id="{6E21E196-D477-89EC-79DC-FEDE3F76D670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10403032" y="5891297"/>
            <a:ext cx="1263015" cy="369332"/>
          </a:xfrm>
        </p:spPr>
        <p:txBody>
          <a:bodyPr lIns="0" tIns="0" rIns="0" bIns="0"/>
          <a:lstStyle>
            <a:lvl1pPr>
              <a:defRPr sz="2400" b="0" i="0">
                <a:solidFill>
                  <a:schemeClr val="bg1"/>
                </a:solidFill>
                <a:latin typeface="Oswald Medium"/>
                <a:cs typeface="Oswald Medium"/>
              </a:defRPr>
            </a:lvl1pPr>
          </a:lstStyle>
          <a:p>
            <a:pPr marL="12700">
              <a:lnSpc>
                <a:spcPct val="100000"/>
              </a:lnSpc>
              <a:spcBef>
                <a:spcPts val="560"/>
              </a:spcBef>
            </a:pPr>
            <a:r>
              <a:rPr spc="-10" dirty="0">
                <a:solidFill>
                  <a:srgbClr val="334D6A"/>
                </a:solidFill>
              </a:rPr>
              <a:t>#SCS2025</a:t>
            </a:r>
          </a:p>
        </p:txBody>
      </p:sp>
      <p:sp>
        <p:nvSpPr>
          <p:cNvPr id="64" name="Holder 4">
            <a:extLst>
              <a:ext uri="{FF2B5EF4-FFF2-40B4-BE49-F238E27FC236}">
                <a16:creationId xmlns:a16="http://schemas.microsoft.com/office/drawing/2014/main" id="{22FED8AD-2976-FFAD-7216-C38A1784113E}"/>
              </a:ext>
            </a:extLst>
          </p:cNvPr>
          <p:cNvSpPr txBox="1">
            <a:spLocks/>
          </p:cNvSpPr>
          <p:nvPr/>
        </p:nvSpPr>
        <p:spPr>
          <a:xfrm>
            <a:off x="8782812" y="6377940"/>
            <a:ext cx="280562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lang="zh-CN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GB" smtClean="0"/>
              <a:pPr/>
              <a:t>3</a:t>
            </a:fld>
            <a:endParaRPr lang="en-GB"/>
          </a:p>
        </p:txBody>
      </p:sp>
      <p:pic>
        <p:nvPicPr>
          <p:cNvPr id="66" name="Picture 6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6D79F296-EF43-9F70-69AE-899A836518EC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009334" y="4857810"/>
            <a:ext cx="2516668" cy="473133"/>
          </a:xfrm>
          <a:prstGeom prst="rect">
            <a:avLst/>
          </a:prstGeom>
        </p:spPr>
      </p:pic>
      <p:sp>
        <p:nvSpPr>
          <p:cNvPr id="67" name="object 2">
            <a:extLst>
              <a:ext uri="{FF2B5EF4-FFF2-40B4-BE49-F238E27FC236}">
                <a16:creationId xmlns:a16="http://schemas.microsoft.com/office/drawing/2014/main" id="{C6AB3C38-BC31-2B58-E826-116100035A0C}"/>
              </a:ext>
            </a:extLst>
          </p:cNvPr>
          <p:cNvSpPr txBox="1">
            <a:spLocks/>
          </p:cNvSpPr>
          <p:nvPr/>
        </p:nvSpPr>
        <p:spPr>
          <a:xfrm>
            <a:off x="527300" y="0"/>
            <a:ext cx="7534800" cy="1207420"/>
          </a:xfrm>
          <a:prstGeom prst="rect">
            <a:avLst/>
          </a:prstGeom>
        </p:spPr>
        <p:txBody>
          <a:bodyPr vert="horz" wrap="square" lIns="0" tIns="586143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/>
            <a:r>
              <a:rPr lang="en-GB" sz="4000" kern="0" spc="80" dirty="0">
                <a:solidFill>
                  <a:sysClr val="windowText" lastClr="000000"/>
                </a:solidFill>
                <a:latin typeface="Oswald SemiBold" panose="00000700000000000000" pitchFamily="2" charset="0"/>
              </a:rPr>
              <a:t>THANK</a:t>
            </a:r>
            <a:r>
              <a:rPr lang="en-GB" sz="4000" kern="0" spc="295" dirty="0">
                <a:solidFill>
                  <a:sysClr val="windowText" lastClr="000000"/>
                </a:solidFill>
                <a:latin typeface="Oswald SemiBold" panose="00000700000000000000" pitchFamily="2" charset="0"/>
              </a:rPr>
              <a:t> </a:t>
            </a:r>
            <a:r>
              <a:rPr lang="en-GB" sz="4000" kern="0" spc="70" dirty="0">
                <a:solidFill>
                  <a:sysClr val="windowText" lastClr="000000"/>
                </a:solidFill>
                <a:latin typeface="Oswald SemiBold" panose="00000700000000000000" pitchFamily="2" charset="0"/>
              </a:rPr>
              <a:t>YOU</a:t>
            </a:r>
            <a:r>
              <a:rPr lang="en-GB" sz="4000" kern="0" spc="295" dirty="0">
                <a:solidFill>
                  <a:sysClr val="windowText" lastClr="000000"/>
                </a:solidFill>
                <a:latin typeface="Oswald SemiBold" panose="00000700000000000000" pitchFamily="2" charset="0"/>
              </a:rPr>
              <a:t> </a:t>
            </a:r>
            <a:r>
              <a:rPr lang="en-GB" sz="4000" kern="0" dirty="0">
                <a:solidFill>
                  <a:sysClr val="windowText" lastClr="000000"/>
                </a:solidFill>
                <a:latin typeface="Oswald SemiBold" panose="00000700000000000000" pitchFamily="2" charset="0"/>
              </a:rPr>
              <a:t>TO</a:t>
            </a:r>
            <a:r>
              <a:rPr lang="en-GB" sz="4000" kern="0" spc="295" dirty="0">
                <a:solidFill>
                  <a:sysClr val="windowText" lastClr="000000"/>
                </a:solidFill>
                <a:latin typeface="Oswald SemiBold" panose="00000700000000000000" pitchFamily="2" charset="0"/>
              </a:rPr>
              <a:t> </a:t>
            </a:r>
            <a:r>
              <a:rPr lang="en-GB" sz="4000" kern="0" spc="90" dirty="0">
                <a:solidFill>
                  <a:sysClr val="windowText" lastClr="000000"/>
                </a:solidFill>
                <a:latin typeface="Oswald SemiBold" panose="00000700000000000000" pitchFamily="2" charset="0"/>
              </a:rPr>
              <a:t>OUR</a:t>
            </a:r>
            <a:r>
              <a:rPr lang="en-GB" sz="4000" kern="0" spc="295" dirty="0">
                <a:solidFill>
                  <a:sysClr val="windowText" lastClr="000000"/>
                </a:solidFill>
                <a:latin typeface="Oswald SemiBold" panose="00000700000000000000" pitchFamily="2" charset="0"/>
              </a:rPr>
              <a:t> </a:t>
            </a:r>
            <a:r>
              <a:rPr lang="en-GB" sz="4000" kern="0" spc="100" dirty="0">
                <a:solidFill>
                  <a:sysClr val="windowText" lastClr="000000"/>
                </a:solidFill>
                <a:latin typeface="Oswald SemiBold" panose="00000700000000000000" pitchFamily="2" charset="0"/>
              </a:rPr>
              <a:t>SPONSOR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58D0E93-999E-758D-2481-D49E63733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7816" y="5504522"/>
            <a:ext cx="1266030" cy="1266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3A3B864-5E85-99D2-93E5-5CA1F4F35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pilot Studio Extensibility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85E0237-B9A1-0B58-E0AA-05EF84817EB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Mats Necker &amp;</a:t>
            </a:r>
          </a:p>
          <a:p>
            <a:r>
              <a:rPr lang="en-US" dirty="0"/>
              <a:t>Daniel Laskewitz</a:t>
            </a:r>
          </a:p>
        </p:txBody>
      </p:sp>
      <p:pic>
        <p:nvPicPr>
          <p:cNvPr id="30" name="Picture placeholder 29" descr="Picture of a group of people attending a conferenece">
            <a:extLst>
              <a:ext uri="{FF2B5EF4-FFF2-40B4-BE49-F238E27FC236}">
                <a16:creationId xmlns:a16="http://schemas.microsoft.com/office/drawing/2014/main" id="{18C88B4D-F554-49C2-A23C-DFE94D4C835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47"/>
          </p:nvPr>
        </p:nvPicPr>
        <p:blipFill>
          <a:blip r:embed="rId3"/>
          <a:srcRect l="21015" r="21015"/>
          <a:stretch/>
        </p:blipFill>
        <p:spPr>
          <a:xfrm>
            <a:off x="6742557" y="821836"/>
            <a:ext cx="4405503" cy="5066346"/>
          </a:xfrm>
        </p:spPr>
      </p:pic>
      <p:sp>
        <p:nvSpPr>
          <p:cNvPr id="10" name="Freeform: Shape 11">
            <a:extLst>
              <a:ext uri="{FF2B5EF4-FFF2-40B4-BE49-F238E27FC236}">
                <a16:creationId xmlns:a16="http://schemas.microsoft.com/office/drawing/2014/main" id="{01A79B69-242C-3AEB-4A42-7A606A54C6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58497" y="384518"/>
            <a:ext cx="1637958" cy="187385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noFill/>
          <a:ln w="19050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  <p:sp>
        <p:nvSpPr>
          <p:cNvPr id="14" name="Freeform: Shape 11">
            <a:extLst>
              <a:ext uri="{FF2B5EF4-FFF2-40B4-BE49-F238E27FC236}">
                <a16:creationId xmlns:a16="http://schemas.microsoft.com/office/drawing/2014/main" id="{E5D4DE6D-89C8-6FFF-287D-3F3BAD416C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974436" y="3694919"/>
            <a:ext cx="1637958" cy="1873859"/>
          </a:xfrm>
          <a:custGeom>
            <a:avLst/>
            <a:gdLst>
              <a:gd name="connsiteX0" fmla="*/ 2187388 w 4398682"/>
              <a:gd name="connsiteY0" fmla="*/ 0 h 5032188"/>
              <a:gd name="connsiteX1" fmla="*/ 4386729 w 4398682"/>
              <a:gd name="connsiteY1" fmla="*/ 1261035 h 5032188"/>
              <a:gd name="connsiteX2" fmla="*/ 4398682 w 4398682"/>
              <a:gd name="connsiteY2" fmla="*/ 3789083 h 5032188"/>
              <a:gd name="connsiteX3" fmla="*/ 2193365 w 4398682"/>
              <a:gd name="connsiteY3" fmla="*/ 5032188 h 5032188"/>
              <a:gd name="connsiteX4" fmla="*/ 0 w 4398682"/>
              <a:gd name="connsiteY4" fmla="*/ 3783106 h 5032188"/>
              <a:gd name="connsiteX5" fmla="*/ 0 w 4398682"/>
              <a:gd name="connsiteY5" fmla="*/ 1267012 h 5032188"/>
              <a:gd name="connsiteX6" fmla="*/ 2187388 w 4398682"/>
              <a:gd name="connsiteY6" fmla="*/ 0 h 5032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8682" h="5032188">
                <a:moveTo>
                  <a:pt x="2187388" y="0"/>
                </a:moveTo>
                <a:lnTo>
                  <a:pt x="4386729" y="1261035"/>
                </a:lnTo>
                <a:cubicBezTo>
                  <a:pt x="4390713" y="2103718"/>
                  <a:pt x="4394698" y="2946400"/>
                  <a:pt x="4398682" y="3789083"/>
                </a:cubicBezTo>
                <a:lnTo>
                  <a:pt x="2193365" y="5032188"/>
                </a:lnTo>
                <a:lnTo>
                  <a:pt x="0" y="3783106"/>
                </a:lnTo>
                <a:lnTo>
                  <a:pt x="0" y="1267012"/>
                </a:lnTo>
                <a:lnTo>
                  <a:pt x="2187388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  <a:alpha val="50196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sterama Text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84479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EA8442-8B13-7788-4506-5ED351FF0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s Necker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E9A01-84A4-E1AB-9A1E-6D1D7729E92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NL"/>
          </a:p>
        </p:txBody>
      </p:sp>
      <p:pic>
        <p:nvPicPr>
          <p:cNvPr id="4" name="Picture 3" descr="Profile photo of Mats Necker">
            <a:extLst>
              <a:ext uri="{FF2B5EF4-FFF2-40B4-BE49-F238E27FC236}">
                <a16:creationId xmlns:a16="http://schemas.microsoft.com/office/drawing/2014/main" id="{0CB711C0-5B49-6778-CC47-9ECD3B49F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226" y="1988757"/>
            <a:ext cx="2880486" cy="2880486"/>
          </a:xfrm>
          <a:prstGeom prst="ellipse">
            <a:avLst/>
          </a:prstGeom>
          <a:ln w="190500" cap="rnd">
            <a:noFill/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140879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653253-5C67-1D21-C231-29F9B2923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AEAC8-F5DF-8CCA-281E-6740CC60C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niel Laskewitz</a:t>
            </a:r>
            <a:endParaRPr lang="en-NL" dirty="0"/>
          </a:p>
        </p:txBody>
      </p:sp>
      <p:pic>
        <p:nvPicPr>
          <p:cNvPr id="5" name="Picture 4" descr="A person sitting at a table&#10;&#10;AI-generated content may be incorrect.">
            <a:extLst>
              <a:ext uri="{FF2B5EF4-FFF2-40B4-BE49-F238E27FC236}">
                <a16:creationId xmlns:a16="http://schemas.microsoft.com/office/drawing/2014/main" id="{433B589B-A77F-4E8F-8A66-C7D95DC9170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2995" t="19912" b="21538"/>
          <a:stretch>
            <a:fillRect/>
          </a:stretch>
        </p:blipFill>
        <p:spPr>
          <a:xfrm>
            <a:off x="914400" y="2014728"/>
            <a:ext cx="2796544" cy="2828544"/>
          </a:xfrm>
          <a:prstGeom prst="ellipse">
            <a:avLst/>
          </a:prstGeom>
          <a:ln w="190500" cap="rnd">
            <a:noFill/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1073829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DF6AC-1038-BE2B-8333-8BF36323A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en-NL" dirty="0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500284D6-6481-D08D-A12B-1773EE52A945}"/>
              </a:ext>
            </a:extLst>
          </p:cNvPr>
          <p:cNvSpPr>
            <a:spLocks noGrp="1"/>
          </p:cNvSpPr>
          <p:nvPr>
            <p:ph type="tbl" sz="quarter" idx="27"/>
          </p:nvPr>
        </p:nvSpPr>
        <p:spPr/>
        <p:txBody>
          <a:bodyPr/>
          <a:lstStyle/>
          <a:p>
            <a:r>
              <a:rPr lang="en-US" dirty="0"/>
              <a:t>Who has worked with Power Virtual Agents?</a:t>
            </a:r>
          </a:p>
          <a:p>
            <a:r>
              <a:rPr lang="en-US" dirty="0"/>
              <a:t>How many people have experience with Copilot Studio?</a:t>
            </a:r>
          </a:p>
          <a:p>
            <a:r>
              <a:rPr lang="en-US" dirty="0"/>
              <a:t>Who is a developer?</a:t>
            </a:r>
          </a:p>
          <a:p>
            <a:r>
              <a:rPr lang="en-US" dirty="0"/>
              <a:t>Who is a maker?</a:t>
            </a:r>
          </a:p>
          <a:p>
            <a:r>
              <a:rPr lang="en-US" dirty="0"/>
              <a:t>Who built a Custom Connector?</a:t>
            </a:r>
          </a:p>
          <a:p>
            <a:r>
              <a:rPr lang="en-US" dirty="0"/>
              <a:t>Who has an agent in production?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712040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1E5D80-CEC9-A2E6-8AC7-A579F88F6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199033-BD1B-185E-8163-64F890FA111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C6F2AC-504F-ACE8-F556-4D05459E58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dirty="0"/>
              <a:t>Setup</a:t>
            </a:r>
            <a:endParaRPr lang="en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AECEB2-A750-D7E3-5378-B80C83B3217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Agent</a:t>
            </a:r>
            <a:endParaRPr lang="en-NL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EAE46C-863B-7284-AA47-FB211D60A45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dirty="0"/>
              <a:t>Custom Connector</a:t>
            </a:r>
            <a:endParaRPr lang="en-NL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F4EC73-9326-7220-3315-B4782784D2F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MCP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9514525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65F8C91-12F8-34B6-456B-4B25DD4F5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onto the marketing stuff…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88815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主题​​">
  <a:themeElements>
    <a:clrScheme name="Custom 4">
      <a:dk1>
        <a:srgbClr val="000000"/>
      </a:dk1>
      <a:lt1>
        <a:srgbClr val="FFFFFF"/>
      </a:lt1>
      <a:dk2>
        <a:srgbClr val="0F253E"/>
      </a:dk2>
      <a:lt2>
        <a:srgbClr val="E7E6E6"/>
      </a:lt2>
      <a:accent1>
        <a:srgbClr val="4472C4"/>
      </a:accent1>
      <a:accent2>
        <a:srgbClr val="00E0D0"/>
      </a:accent2>
      <a:accent3>
        <a:srgbClr val="DCD3CC"/>
      </a:accent3>
      <a:accent4>
        <a:srgbClr val="00E0D0"/>
      </a:accent4>
      <a:accent5>
        <a:srgbClr val="44668D"/>
      </a:accent5>
      <a:accent6>
        <a:srgbClr val="0F253E"/>
      </a:accent6>
      <a:hlink>
        <a:srgbClr val="AEC0D9"/>
      </a:hlink>
      <a:folHlink>
        <a:srgbClr val="00E0D0"/>
      </a:folHlink>
    </a:clrScheme>
    <a:fontScheme name="Custom 10">
      <a:majorFont>
        <a:latin typeface="Posterama Text Black"/>
        <a:ea typeface=""/>
        <a:cs typeface=""/>
      </a:majorFont>
      <a:minorFont>
        <a:latin typeface="Abad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/>
      <a:lstStyle>
        <a:defPPr marL="0" indent="0" algn="ctr">
          <a:lnSpc>
            <a:spcPct val="100000"/>
          </a:lnSpc>
          <a:spcBef>
            <a:spcPts val="0"/>
          </a:spcBef>
          <a:buFontTx/>
          <a:buNone/>
          <a:defRPr sz="1800" smtClean="0">
            <a:solidFill>
              <a:prstClr val="white"/>
            </a:solidFill>
            <a:latin typeface="Posterama" panose="020B0504020200020000" pitchFamily="34" charset="0"/>
            <a:ea typeface="微软雅黑"/>
            <a:cs typeface="Posterama" panose="020B0504020200020000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CS2025 - PowerPoint Template" id="{E24148D4-1C09-478C-9911-46D0A29B1092}" vid="{5764C6EE-8AB9-4181-B44A-AB4CD91C6FD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icrosoft AI Tour 16:9 Template Light">
  <a:themeElements>
    <a:clrScheme name="Custom 44">
      <a:dk1>
        <a:srgbClr val="000000"/>
      </a:dk1>
      <a:lt1>
        <a:srgbClr val="FFFFFF"/>
      </a:lt1>
      <a:dk2>
        <a:srgbClr val="2A446F"/>
      </a:dk2>
      <a:lt2>
        <a:srgbClr val="E8E6DF"/>
      </a:lt2>
      <a:accent1>
        <a:srgbClr val="0078D4"/>
      </a:accent1>
      <a:accent2>
        <a:srgbClr val="49C5B1"/>
      </a:accent2>
      <a:accent3>
        <a:srgbClr val="2A446F"/>
      </a:accent3>
      <a:accent4>
        <a:srgbClr val="BF9474"/>
      </a:accent4>
      <a:accent5>
        <a:srgbClr val="8661C5"/>
      </a:accent5>
      <a:accent6>
        <a:srgbClr val="B1B3B3"/>
      </a:accent6>
      <a:hlink>
        <a:srgbClr val="0078D4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Presentation6" id="{BC181922-949A-CF42-AE2C-F615C57AD510}" vid="{782B1D66-57CB-D643-ABCB-5CC51FC88270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91AD582865DC4FAE90A3B70C57AA05" ma:contentTypeVersion="11" ma:contentTypeDescription="Create a new document." ma:contentTypeScope="" ma:versionID="c31e652b9f79f83837c498a3efb172ba">
  <xsd:schema xmlns:xsd="http://www.w3.org/2001/XMLSchema" xmlns:xs="http://www.w3.org/2001/XMLSchema" xmlns:p="http://schemas.microsoft.com/office/2006/metadata/properties" xmlns:ns2="01fceb86-be59-4755-9138-08d251679d60" xmlns:ns3="eaae580a-ac37-41aa-906d-085ccea5f9b3" targetNamespace="http://schemas.microsoft.com/office/2006/metadata/properties" ma:root="true" ma:fieldsID="9c96b32a95387b2397c444c2a005e978" ns2:_="" ns3:_="">
    <xsd:import namespace="01fceb86-be59-4755-9138-08d251679d60"/>
    <xsd:import namespace="eaae580a-ac37-41aa-906d-085ccea5f9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fceb86-be59-4755-9138-08d251679d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995c3ef-f0dd-4629-83c5-ef0ca6564a1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e580a-ac37-41aa-906d-085ccea5f9b3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59a370b-db42-44c2-a162-4fcb0f508dd3}" ma:internalName="TaxCatchAll" ma:showField="CatchAllData" ma:web="eaae580a-ac37-41aa-906d-085ccea5f9b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aae580a-ac37-41aa-906d-085ccea5f9b3" xsi:nil="true"/>
    <lcf76f155ced4ddcb4097134ff3c332f xmlns="01fceb86-be59-4755-9138-08d251679d60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289803-1D18-47DF-A208-58B291C1CE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fceb86-be59-4755-9138-08d251679d60"/>
    <ds:schemaRef ds:uri="eaae580a-ac37-41aa-906d-085ccea5f9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2C81503-9DEF-42F3-A99B-D5E0223E195B}">
  <ds:schemaRefs>
    <ds:schemaRef ds:uri="http://purl.org/dc/terms/"/>
    <ds:schemaRef ds:uri="bc3286bb-8254-4970-8989-8d609edc2e6c"/>
    <ds:schemaRef ds:uri="http://schemas.microsoft.com/office/2006/documentManagement/types"/>
    <ds:schemaRef ds:uri="f900d95e-e19a-45eb-9a4f-5a83a77669f5"/>
    <ds:schemaRef ds:uri="http://purl.org/dc/dcmitype/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eaae580a-ac37-41aa-906d-085ccea5f9b3"/>
    <ds:schemaRef ds:uri="01fceb86-be59-4755-9138-08d251679d60"/>
  </ds:schemaRefs>
</ds:datastoreItem>
</file>

<file path=customXml/itemProps3.xml><?xml version="1.0" encoding="utf-8"?>
<ds:datastoreItem xmlns:ds="http://schemas.openxmlformats.org/officeDocument/2006/customXml" ds:itemID="{6F156100-9533-4411-B0C0-FA18F914F7B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87ba5c36-b7cf-4793-bbc2-bd5b3a9f95ca}" enabled="1" method="Privilege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CS2025 - PowerPoint Template[1]</Template>
  <TotalTime>0</TotalTime>
  <Words>2798</Words>
  <Application>Microsoft Office PowerPoint</Application>
  <PresentationFormat>Widescreen</PresentationFormat>
  <Paragraphs>337</Paragraphs>
  <Slides>25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16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5</vt:i4>
      </vt:variant>
    </vt:vector>
  </HeadingPairs>
  <TitlesOfParts>
    <vt:vector size="44" baseType="lpstr">
      <vt:lpstr>等线</vt:lpstr>
      <vt:lpstr>Abadi</vt:lpstr>
      <vt:lpstr>Arial</vt:lpstr>
      <vt:lpstr>Calibri</vt:lpstr>
      <vt:lpstr>Consolas</vt:lpstr>
      <vt:lpstr>Oswald Medium</vt:lpstr>
      <vt:lpstr>Oswald SemiBold</vt:lpstr>
      <vt:lpstr>Posterama</vt:lpstr>
      <vt:lpstr>Posterama Text Black</vt:lpstr>
      <vt:lpstr>Posterama Text SemiBold</vt:lpstr>
      <vt:lpstr>Segoe Sans Display</vt:lpstr>
      <vt:lpstr>Segoe Sans Display Semibold</vt:lpstr>
      <vt:lpstr>Segoe UI</vt:lpstr>
      <vt:lpstr>Segoe UI Semibold</vt:lpstr>
      <vt:lpstr>Segoe UI Variable Display Semib</vt:lpstr>
      <vt:lpstr>Wingdings</vt:lpstr>
      <vt:lpstr>Office 主题​​</vt:lpstr>
      <vt:lpstr>Office Theme</vt:lpstr>
      <vt:lpstr>1_Microsoft AI Tour 16:9 Template Light</vt:lpstr>
      <vt:lpstr>WELCOME</vt:lpstr>
      <vt:lpstr>THANK YOU TO OUR SPONSORS</vt:lpstr>
      <vt:lpstr>PowerPoint Presentation</vt:lpstr>
      <vt:lpstr>Copilot Studio Extensibility</vt:lpstr>
      <vt:lpstr>Mats Necker</vt:lpstr>
      <vt:lpstr>Daniel Laskewitz</vt:lpstr>
      <vt:lpstr>Introduction</vt:lpstr>
      <vt:lpstr>Agenda</vt:lpstr>
      <vt:lpstr>Now onto the marketing stuff…</vt:lpstr>
      <vt:lpstr> Copilot Studio</vt:lpstr>
      <vt:lpstr>A range of tools for agent creation</vt:lpstr>
      <vt:lpstr>How does it all fit together?</vt:lpstr>
      <vt:lpstr>Instructions are key to success</vt:lpstr>
      <vt:lpstr>Deep reasoning</vt:lpstr>
      <vt:lpstr>Multi-agent orchestration</vt:lpstr>
      <vt:lpstr>Model Context Protocol</vt:lpstr>
      <vt:lpstr>Agent flows</vt:lpstr>
      <vt:lpstr>Models in Copilot Studio</vt:lpstr>
      <vt:lpstr>Bring your own model</vt:lpstr>
      <vt:lpstr>Analytics &amp; Insights </vt:lpstr>
      <vt:lpstr>Analytics &amp; Insights </vt:lpstr>
      <vt:lpstr>Analytics &amp; Insights </vt:lpstr>
      <vt:lpstr>Lab Instructions</vt:lpstr>
      <vt:lpstr>Lab 01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aron Rendell</dc:creator>
  <cp:keywords>SCS2022; South Coast Summit</cp:keywords>
  <cp:lastModifiedBy>Daniel Laskewitz</cp:lastModifiedBy>
  <cp:revision>2</cp:revision>
  <dcterms:created xsi:type="dcterms:W3CDTF">2025-10-11T10:44:32Z</dcterms:created>
  <dcterms:modified xsi:type="dcterms:W3CDTF">2025-10-17T12:2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91AD582865DC4FAE90A3B70C57AA05</vt:lpwstr>
  </property>
  <property fmtid="{D5CDD505-2E9C-101B-9397-08002B2CF9AE}" pid="3" name="MediaServiceImageTags">
    <vt:lpwstr/>
  </property>
</Properties>
</file>